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8"/>
  </p:notesMasterIdLst>
  <p:handoutMasterIdLst>
    <p:handoutMasterId r:id="rId9"/>
  </p:handoutMasterIdLst>
  <p:sldIdLst>
    <p:sldId id="261" r:id="rId5"/>
    <p:sldId id="258" r:id="rId6"/>
    <p:sldId id="262" r:id="rId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FA0D986-2A1A-7B05-3D52-57F43748AB76}" name="Denise Trevellyan" initials="DT" userId="S::Denise@Trevellyan.onmicrosoft.com::1e1aaece-62a5-4366-9b44-0ed221679066" providerId="AD"/>
  <p188:author id="{2A64078B-A0D8-A769-DF98-E3345CCED304}" name="Lebreton, Edouard" initials="LE" userId="S::ELebreton@INTERNAL.COLT.NET::f34994e7-226d-47c0-8553-cda3795b81f1"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D7BD"/>
    <a:srgbClr val="484A4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450" autoAdjust="0"/>
    <p:restoredTop sz="97399"/>
  </p:normalViewPr>
  <p:slideViewPr>
    <p:cSldViewPr snapToGrid="0" showGuides="1">
      <p:cViewPr varScale="1">
        <p:scale>
          <a:sx n="67" d="100"/>
          <a:sy n="67" d="100"/>
        </p:scale>
        <p:origin x="740" y="44"/>
      </p:cViewPr>
      <p:guideLst/>
    </p:cSldViewPr>
  </p:slid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87" d="100"/>
          <a:sy n="87" d="100"/>
        </p:scale>
        <p:origin x="3904"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handoutMaster" Target="handoutMasters/handoutMaster1.xml"/><Relationship Id="rId14" Type="http://schemas.microsoft.com/office/2018/10/relationships/authors" Targe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DC06E3F-9ECA-41C1-99FC-D11B827DDB93}"/>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a:extLst>
              <a:ext uri="{FF2B5EF4-FFF2-40B4-BE49-F238E27FC236}">
                <a16:creationId xmlns:a16="http://schemas.microsoft.com/office/drawing/2014/main" id="{E916EEE5-D6DF-4F4E-ACEF-3DEF41A9D19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562F309-FD32-4059-A9BB-A328A3EC28DF}" type="datetimeFigureOut">
              <a:rPr lang="en-GB" smtClean="0"/>
              <a:t>22/12/2023</a:t>
            </a:fld>
            <a:endParaRPr lang="en-GB" dirty="0"/>
          </a:p>
        </p:txBody>
      </p:sp>
      <p:sp>
        <p:nvSpPr>
          <p:cNvPr id="4" name="Footer Placeholder 3">
            <a:extLst>
              <a:ext uri="{FF2B5EF4-FFF2-40B4-BE49-F238E27FC236}">
                <a16:creationId xmlns:a16="http://schemas.microsoft.com/office/drawing/2014/main" id="{B9612E25-ABE3-4303-A5D9-073DB996547C}"/>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a:extLst>
              <a:ext uri="{FF2B5EF4-FFF2-40B4-BE49-F238E27FC236}">
                <a16:creationId xmlns:a16="http://schemas.microsoft.com/office/drawing/2014/main" id="{11BDF256-5DB2-4820-BBB4-FB86A7F017E4}"/>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71FEB015-8EF4-4487-BF18-B6A46FA8CBC6}" type="slidenum">
              <a:rPr lang="en-GB" smtClean="0"/>
              <a:t>‹#›</a:t>
            </a:fld>
            <a:endParaRPr lang="en-GB" dirty="0"/>
          </a:p>
        </p:txBody>
      </p:sp>
    </p:spTree>
    <p:extLst>
      <p:ext uri="{BB962C8B-B14F-4D97-AF65-F5344CB8AC3E}">
        <p14:creationId xmlns:p14="http://schemas.microsoft.com/office/powerpoint/2010/main" val="8740703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810818B-4FF6-46A5-A01A-3190954FE918}" type="datetimeFigureOut">
              <a:rPr lang="en-GB" smtClean="0"/>
              <a:t>22/12/2023</a:t>
            </a:fld>
            <a:endParaRPr lang="en-GB"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577B899-984D-46E9-A688-738A2FC6C5B0}" type="slidenum">
              <a:rPr lang="en-GB" smtClean="0"/>
              <a:t>‹#›</a:t>
            </a:fld>
            <a:endParaRPr lang="en-GB" dirty="0"/>
          </a:p>
        </p:txBody>
      </p:sp>
    </p:spTree>
    <p:extLst>
      <p:ext uri="{BB962C8B-B14F-4D97-AF65-F5344CB8AC3E}">
        <p14:creationId xmlns:p14="http://schemas.microsoft.com/office/powerpoint/2010/main" val="26737331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6.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Title Slide v4">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5DFCD417-C516-1544-B2B8-4223F5CE4857}"/>
              </a:ext>
            </a:extLst>
          </p:cNvPr>
          <p:cNvPicPr>
            <a:picLocks noChangeAspect="1"/>
          </p:cNvPicPr>
          <p:nvPr userDrawn="1"/>
        </p:nvPicPr>
        <p:blipFill>
          <a:blip r:embed="rId2"/>
          <a:stretch>
            <a:fillRect/>
          </a:stretch>
        </p:blipFill>
        <p:spPr>
          <a:xfrm>
            <a:off x="7029083" y="-26016"/>
            <a:ext cx="5156200" cy="5880100"/>
          </a:xfrm>
          <a:prstGeom prst="rect">
            <a:avLst/>
          </a:prstGeom>
        </p:spPr>
      </p:pic>
      <p:sp>
        <p:nvSpPr>
          <p:cNvPr id="2" name="Title 1"/>
          <p:cNvSpPr>
            <a:spLocks noGrp="1"/>
          </p:cNvSpPr>
          <p:nvPr>
            <p:ph type="ctrTitle" hasCustomPrompt="1"/>
          </p:nvPr>
        </p:nvSpPr>
        <p:spPr>
          <a:xfrm>
            <a:off x="1875600" y="2286000"/>
            <a:ext cx="7306500" cy="1884008"/>
          </a:xfrm>
        </p:spPr>
        <p:txBody>
          <a:bodyPr/>
          <a:lstStyle>
            <a:lvl1pPr algn="l">
              <a:lnSpc>
                <a:spcPts val="6630"/>
              </a:lnSpc>
              <a:defRPr sz="6630"/>
            </a:lvl1pPr>
          </a:lstStyle>
          <a:p>
            <a:r>
              <a:rPr lang="en-GB" dirty="0"/>
              <a:t>Title Slide</a:t>
            </a:r>
            <a:endParaRPr lang="en-GB" noProof="0" dirty="0"/>
          </a:p>
        </p:txBody>
      </p:sp>
      <p:sp>
        <p:nvSpPr>
          <p:cNvPr id="3" name="Subtitle 2"/>
          <p:cNvSpPr>
            <a:spLocks noGrp="1"/>
          </p:cNvSpPr>
          <p:nvPr>
            <p:ph type="subTitle" idx="1"/>
          </p:nvPr>
        </p:nvSpPr>
        <p:spPr>
          <a:xfrm>
            <a:off x="1875600" y="4170008"/>
            <a:ext cx="7306500" cy="226795"/>
          </a:xfrm>
        </p:spPr>
        <p:txBody>
          <a:bodyPr/>
          <a:lstStyle>
            <a:lvl1pPr marL="0" indent="0" algn="l">
              <a:lnSpc>
                <a:spcPts val="1590"/>
              </a:lnSpc>
              <a:spcAft>
                <a:spcPts val="0"/>
              </a:spcAft>
              <a:buNone/>
              <a:defRPr sz="141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sp>
        <p:nvSpPr>
          <p:cNvPr id="4" name="Date Placeholder 3"/>
          <p:cNvSpPr>
            <a:spLocks noGrp="1"/>
          </p:cNvSpPr>
          <p:nvPr>
            <p:ph type="dt" sz="half" idx="10"/>
          </p:nvPr>
        </p:nvSpPr>
        <p:spPr>
          <a:xfrm>
            <a:off x="1875600" y="4414345"/>
            <a:ext cx="3996000" cy="288000"/>
          </a:xfrm>
        </p:spPr>
        <p:txBody>
          <a:bodyPr anchor="t" anchorCtr="0"/>
          <a:lstStyle>
            <a:lvl1pPr>
              <a:lnSpc>
                <a:spcPts val="1590"/>
              </a:lnSpc>
              <a:defRPr sz="1410">
                <a:solidFill>
                  <a:schemeClr val="accent2"/>
                </a:solidFill>
              </a:defRPr>
            </a:lvl1pPr>
          </a:lstStyle>
          <a:p>
            <a:pPr>
              <a:lnSpc>
                <a:spcPts val="1590"/>
              </a:lnSpc>
            </a:pPr>
            <a:fld id="{1C246972-E14A-4730-BC91-3E95C3F7192F}" type="datetime3">
              <a:rPr lang="en-US" smtClean="0"/>
              <a:t>22 December 2023</a:t>
            </a:fld>
            <a:endParaRPr lang="en-GB" dirty="0"/>
          </a:p>
        </p:txBody>
      </p:sp>
      <p:grpSp>
        <p:nvGrpSpPr>
          <p:cNvPr id="9" name="Group 8">
            <a:extLst>
              <a:ext uri="{FF2B5EF4-FFF2-40B4-BE49-F238E27FC236}">
                <a16:creationId xmlns:a16="http://schemas.microsoft.com/office/drawing/2014/main" id="{47D0206B-82CB-E348-8A78-9CA3278CF4AE}"/>
              </a:ext>
            </a:extLst>
          </p:cNvPr>
          <p:cNvGrpSpPr/>
          <p:nvPr userDrawn="1"/>
        </p:nvGrpSpPr>
        <p:grpSpPr>
          <a:xfrm>
            <a:off x="471600" y="443753"/>
            <a:ext cx="1412891" cy="552898"/>
            <a:chOff x="3562350" y="3567113"/>
            <a:chExt cx="3476625" cy="1360487"/>
          </a:xfrm>
          <a:solidFill>
            <a:schemeClr val="accent1"/>
          </a:solidFill>
        </p:grpSpPr>
        <p:sp>
          <p:nvSpPr>
            <p:cNvPr id="10" name="Freeform 1">
              <a:extLst>
                <a:ext uri="{FF2B5EF4-FFF2-40B4-BE49-F238E27FC236}">
                  <a16:creationId xmlns:a16="http://schemas.microsoft.com/office/drawing/2014/main" id="{A91CD9E0-78A1-E844-9E19-A98DCA3FDD23}"/>
                </a:ext>
              </a:extLst>
            </p:cNvPr>
            <p:cNvSpPr>
              <a:spLocks noChangeArrowheads="1"/>
            </p:cNvSpPr>
            <p:nvPr/>
          </p:nvSpPr>
          <p:spPr bwMode="auto">
            <a:xfrm>
              <a:off x="4710113" y="3800475"/>
              <a:ext cx="1136650" cy="1127125"/>
            </a:xfrm>
            <a:custGeom>
              <a:avLst/>
              <a:gdLst>
                <a:gd name="T0" fmla="*/ 10 w 3158"/>
                <a:gd name="T1" fmla="*/ 1539 h 3130"/>
                <a:gd name="T2" fmla="*/ 1599 w 3158"/>
                <a:gd name="T3" fmla="*/ 13 h 3130"/>
                <a:gd name="T4" fmla="*/ 3148 w 3158"/>
                <a:gd name="T5" fmla="*/ 1584 h 3130"/>
                <a:gd name="T6" fmla="*/ 1560 w 3158"/>
                <a:gd name="T7" fmla="*/ 3116 h 3130"/>
                <a:gd name="T8" fmla="*/ 10 w 3158"/>
                <a:gd name="T9" fmla="*/ 1545 h 3130"/>
                <a:gd name="T10" fmla="*/ 10 w 3158"/>
                <a:gd name="T11" fmla="*/ 1539 h 3130"/>
                <a:gd name="T12" fmla="*/ 711 w 3158"/>
                <a:gd name="T13" fmla="*/ 1553 h 3130"/>
                <a:gd name="T14" fmla="*/ 1568 w 3158"/>
                <a:gd name="T15" fmla="*/ 2456 h 3130"/>
                <a:gd name="T16" fmla="*/ 2446 w 3158"/>
                <a:gd name="T17" fmla="*/ 1570 h 3130"/>
                <a:gd name="T18" fmla="*/ 1591 w 3158"/>
                <a:gd name="T19" fmla="*/ 662 h 3130"/>
                <a:gd name="T20" fmla="*/ 712 w 3158"/>
                <a:gd name="T21" fmla="*/ 1548 h 3130"/>
                <a:gd name="T22" fmla="*/ 711 w 3158"/>
                <a:gd name="T23" fmla="*/ 1553 h 3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58" h="3130">
                  <a:moveTo>
                    <a:pt x="10" y="1539"/>
                  </a:moveTo>
                  <a:cubicBezTo>
                    <a:pt x="19" y="790"/>
                    <a:pt x="578" y="0"/>
                    <a:pt x="1599" y="13"/>
                  </a:cubicBezTo>
                  <a:cubicBezTo>
                    <a:pt x="2619" y="26"/>
                    <a:pt x="3157" y="830"/>
                    <a:pt x="3148" y="1584"/>
                  </a:cubicBezTo>
                  <a:cubicBezTo>
                    <a:pt x="3138" y="2341"/>
                    <a:pt x="2579" y="3129"/>
                    <a:pt x="1560" y="3116"/>
                  </a:cubicBezTo>
                  <a:cubicBezTo>
                    <a:pt x="539" y="3104"/>
                    <a:pt x="0" y="2302"/>
                    <a:pt x="10" y="1545"/>
                  </a:cubicBezTo>
                  <a:lnTo>
                    <a:pt x="10" y="1539"/>
                  </a:lnTo>
                  <a:close/>
                  <a:moveTo>
                    <a:pt x="711" y="1553"/>
                  </a:moveTo>
                  <a:cubicBezTo>
                    <a:pt x="705" y="2065"/>
                    <a:pt x="1089" y="2451"/>
                    <a:pt x="1568" y="2456"/>
                  </a:cubicBezTo>
                  <a:cubicBezTo>
                    <a:pt x="2047" y="2462"/>
                    <a:pt x="2440" y="2087"/>
                    <a:pt x="2446" y="1570"/>
                  </a:cubicBezTo>
                  <a:cubicBezTo>
                    <a:pt x="2453" y="1054"/>
                    <a:pt x="2070" y="669"/>
                    <a:pt x="1591" y="662"/>
                  </a:cubicBezTo>
                  <a:cubicBezTo>
                    <a:pt x="1112" y="656"/>
                    <a:pt x="718" y="1032"/>
                    <a:pt x="712" y="1548"/>
                  </a:cubicBezTo>
                  <a:lnTo>
                    <a:pt x="711" y="15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1" name="Freeform 2">
              <a:extLst>
                <a:ext uri="{FF2B5EF4-FFF2-40B4-BE49-F238E27FC236}">
                  <a16:creationId xmlns:a16="http://schemas.microsoft.com/office/drawing/2014/main" id="{60FF600C-3CD7-B443-BBBD-AC259128FF35}"/>
                </a:ext>
              </a:extLst>
            </p:cNvPr>
            <p:cNvSpPr>
              <a:spLocks noChangeArrowheads="1"/>
            </p:cNvSpPr>
            <p:nvPr/>
          </p:nvSpPr>
          <p:spPr bwMode="auto">
            <a:xfrm>
              <a:off x="5969000" y="3567113"/>
              <a:ext cx="455613" cy="1338262"/>
            </a:xfrm>
            <a:custGeom>
              <a:avLst/>
              <a:gdLst>
                <a:gd name="T0" fmla="*/ 971 w 1264"/>
                <a:gd name="T1" fmla="*/ 3165 h 3717"/>
                <a:gd name="T2" fmla="*/ 765 w 1264"/>
                <a:gd name="T3" fmla="*/ 2983 h 3717"/>
                <a:gd name="T4" fmla="*/ 803 w 1264"/>
                <a:gd name="T5" fmla="*/ 9 h 3717"/>
                <a:gd name="T6" fmla="*/ 101 w 1264"/>
                <a:gd name="T7" fmla="*/ 0 h 3717"/>
                <a:gd name="T8" fmla="*/ 64 w 1264"/>
                <a:gd name="T9" fmla="*/ 2965 h 3717"/>
                <a:gd name="T10" fmla="*/ 696 w 1264"/>
                <a:gd name="T11" fmla="*/ 3708 h 3717"/>
                <a:gd name="T12" fmla="*/ 696 w 1264"/>
                <a:gd name="T13" fmla="*/ 3709 h 3717"/>
                <a:gd name="T14" fmla="*/ 1256 w 1264"/>
                <a:gd name="T15" fmla="*/ 3716 h 3717"/>
                <a:gd name="T16" fmla="*/ 1263 w 1264"/>
                <a:gd name="T17" fmla="*/ 3168 h 3717"/>
                <a:gd name="T18" fmla="*/ 971 w 1264"/>
                <a:gd name="T19" fmla="*/ 3165 h 3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4" h="3717">
                  <a:moveTo>
                    <a:pt x="971" y="3165"/>
                  </a:moveTo>
                  <a:cubicBezTo>
                    <a:pt x="971" y="3165"/>
                    <a:pt x="768" y="3164"/>
                    <a:pt x="765" y="2983"/>
                  </a:cubicBezTo>
                  <a:lnTo>
                    <a:pt x="803" y="9"/>
                  </a:lnTo>
                  <a:lnTo>
                    <a:pt x="101" y="0"/>
                  </a:lnTo>
                  <a:lnTo>
                    <a:pt x="64" y="2965"/>
                  </a:lnTo>
                  <a:cubicBezTo>
                    <a:pt x="64" y="2965"/>
                    <a:pt x="0" y="3699"/>
                    <a:pt x="696" y="3708"/>
                  </a:cubicBezTo>
                  <a:lnTo>
                    <a:pt x="696" y="3709"/>
                  </a:lnTo>
                  <a:lnTo>
                    <a:pt x="1256" y="3716"/>
                  </a:lnTo>
                  <a:lnTo>
                    <a:pt x="1263" y="3168"/>
                  </a:lnTo>
                  <a:lnTo>
                    <a:pt x="971" y="31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2" name="Freeform 3">
              <a:extLst>
                <a:ext uri="{FF2B5EF4-FFF2-40B4-BE49-F238E27FC236}">
                  <a16:creationId xmlns:a16="http://schemas.microsoft.com/office/drawing/2014/main" id="{B80BA92B-2653-FF4E-ABF3-0C30E823BD23}"/>
                </a:ext>
              </a:extLst>
            </p:cNvPr>
            <p:cNvSpPr>
              <a:spLocks noChangeArrowheads="1"/>
            </p:cNvSpPr>
            <p:nvPr/>
          </p:nvSpPr>
          <p:spPr bwMode="auto">
            <a:xfrm>
              <a:off x="3562350" y="3786188"/>
              <a:ext cx="1069975" cy="1127125"/>
            </a:xfrm>
            <a:custGeom>
              <a:avLst/>
              <a:gdLst>
                <a:gd name="T0" fmla="*/ 2366 w 2971"/>
                <a:gd name="T1" fmla="*/ 1976 h 3132"/>
                <a:gd name="T2" fmla="*/ 1569 w 2971"/>
                <a:gd name="T3" fmla="*/ 2468 h 3132"/>
                <a:gd name="T4" fmla="*/ 716 w 2971"/>
                <a:gd name="T5" fmla="*/ 1556 h 3132"/>
                <a:gd name="T6" fmla="*/ 966 w 2971"/>
                <a:gd name="T7" fmla="*/ 910 h 3132"/>
                <a:gd name="T8" fmla="*/ 1593 w 2971"/>
                <a:gd name="T9" fmla="*/ 667 h 3132"/>
                <a:gd name="T10" fmla="*/ 2376 w 2971"/>
                <a:gd name="T11" fmla="*/ 1201 h 3132"/>
                <a:gd name="T12" fmla="*/ 2970 w 2971"/>
                <a:gd name="T13" fmla="*/ 871 h 3132"/>
                <a:gd name="T14" fmla="*/ 1576 w 2971"/>
                <a:gd name="T15" fmla="*/ 12 h 3132"/>
                <a:gd name="T16" fmla="*/ 11 w 2971"/>
                <a:gd name="T17" fmla="*/ 1545 h 3132"/>
                <a:gd name="T18" fmla="*/ 1559 w 2971"/>
                <a:gd name="T19" fmla="*/ 3123 h 3132"/>
                <a:gd name="T20" fmla="*/ 2950 w 2971"/>
                <a:gd name="T21" fmla="*/ 2314 h 3132"/>
                <a:gd name="T22" fmla="*/ 2379 w 2971"/>
                <a:gd name="T23" fmla="*/ 1977 h 3132"/>
                <a:gd name="T24" fmla="*/ 2366 w 2971"/>
                <a:gd name="T25" fmla="*/ 1976 h 3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1" h="3132">
                  <a:moveTo>
                    <a:pt x="2366" y="1976"/>
                  </a:moveTo>
                  <a:cubicBezTo>
                    <a:pt x="2256" y="2216"/>
                    <a:pt x="2006" y="2472"/>
                    <a:pt x="1569" y="2468"/>
                  </a:cubicBezTo>
                  <a:cubicBezTo>
                    <a:pt x="1072" y="2462"/>
                    <a:pt x="710" y="2081"/>
                    <a:pt x="716" y="1556"/>
                  </a:cubicBezTo>
                  <a:cubicBezTo>
                    <a:pt x="720" y="1300"/>
                    <a:pt x="815" y="1064"/>
                    <a:pt x="966" y="910"/>
                  </a:cubicBezTo>
                  <a:cubicBezTo>
                    <a:pt x="1138" y="742"/>
                    <a:pt x="1337" y="657"/>
                    <a:pt x="1593" y="667"/>
                  </a:cubicBezTo>
                  <a:cubicBezTo>
                    <a:pt x="1976" y="670"/>
                    <a:pt x="2254" y="891"/>
                    <a:pt x="2376" y="1201"/>
                  </a:cubicBezTo>
                  <a:lnTo>
                    <a:pt x="2970" y="871"/>
                  </a:lnTo>
                  <a:cubicBezTo>
                    <a:pt x="2716" y="350"/>
                    <a:pt x="2184" y="19"/>
                    <a:pt x="1576" y="12"/>
                  </a:cubicBezTo>
                  <a:cubicBezTo>
                    <a:pt x="696" y="0"/>
                    <a:pt x="22" y="683"/>
                    <a:pt x="11" y="1545"/>
                  </a:cubicBezTo>
                  <a:cubicBezTo>
                    <a:pt x="0" y="2384"/>
                    <a:pt x="634" y="3111"/>
                    <a:pt x="1559" y="3123"/>
                  </a:cubicBezTo>
                  <a:cubicBezTo>
                    <a:pt x="2184" y="3131"/>
                    <a:pt x="2691" y="2793"/>
                    <a:pt x="2950" y="2314"/>
                  </a:cubicBezTo>
                  <a:lnTo>
                    <a:pt x="2379" y="1977"/>
                  </a:lnTo>
                  <a:lnTo>
                    <a:pt x="2366" y="19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4">
              <a:extLst>
                <a:ext uri="{FF2B5EF4-FFF2-40B4-BE49-F238E27FC236}">
                  <a16:creationId xmlns:a16="http://schemas.microsoft.com/office/drawing/2014/main" id="{66CC0EB8-DD1B-0940-94D2-A50C3B189C76}"/>
                </a:ext>
              </a:extLst>
            </p:cNvPr>
            <p:cNvSpPr>
              <a:spLocks noChangeArrowheads="1"/>
            </p:cNvSpPr>
            <p:nvPr/>
          </p:nvSpPr>
          <p:spPr bwMode="auto">
            <a:xfrm>
              <a:off x="6546850" y="3575050"/>
              <a:ext cx="492125" cy="1338263"/>
            </a:xfrm>
            <a:custGeom>
              <a:avLst/>
              <a:gdLst>
                <a:gd name="T0" fmla="*/ 960 w 1365"/>
                <a:gd name="T1" fmla="*/ 3164 h 3718"/>
                <a:gd name="T2" fmla="*/ 753 w 1365"/>
                <a:gd name="T3" fmla="*/ 2983 h 3718"/>
                <a:gd name="T4" fmla="*/ 773 w 1365"/>
                <a:gd name="T5" fmla="*/ 1401 h 3718"/>
                <a:gd name="T6" fmla="*/ 1336 w 1365"/>
                <a:gd name="T7" fmla="*/ 1408 h 3718"/>
                <a:gd name="T8" fmla="*/ 1343 w 1365"/>
                <a:gd name="T9" fmla="*/ 860 h 3718"/>
                <a:gd name="T10" fmla="*/ 780 w 1365"/>
                <a:gd name="T11" fmla="*/ 853 h 3718"/>
                <a:gd name="T12" fmla="*/ 791 w 1365"/>
                <a:gd name="T13" fmla="*/ 9 h 3718"/>
                <a:gd name="T14" fmla="*/ 89 w 1365"/>
                <a:gd name="T15" fmla="*/ 0 h 3718"/>
                <a:gd name="T16" fmla="*/ 51 w 1365"/>
                <a:gd name="T17" fmla="*/ 2965 h 3718"/>
                <a:gd name="T18" fmla="*/ 683 w 1365"/>
                <a:gd name="T19" fmla="*/ 3708 h 3718"/>
                <a:gd name="T20" fmla="*/ 684 w 1365"/>
                <a:gd name="T21" fmla="*/ 3708 h 3718"/>
                <a:gd name="T22" fmla="*/ 1357 w 1365"/>
                <a:gd name="T23" fmla="*/ 3717 h 3718"/>
                <a:gd name="T24" fmla="*/ 1364 w 1365"/>
                <a:gd name="T25" fmla="*/ 3169 h 3718"/>
                <a:gd name="T26" fmla="*/ 960 w 1365"/>
                <a:gd name="T27" fmla="*/ 3164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5" h="3718">
                  <a:moveTo>
                    <a:pt x="960" y="3164"/>
                  </a:moveTo>
                  <a:cubicBezTo>
                    <a:pt x="960" y="3164"/>
                    <a:pt x="756" y="3164"/>
                    <a:pt x="753" y="2983"/>
                  </a:cubicBezTo>
                  <a:lnTo>
                    <a:pt x="773" y="1401"/>
                  </a:lnTo>
                  <a:lnTo>
                    <a:pt x="1336" y="1408"/>
                  </a:lnTo>
                  <a:lnTo>
                    <a:pt x="1343" y="860"/>
                  </a:lnTo>
                  <a:lnTo>
                    <a:pt x="780" y="853"/>
                  </a:lnTo>
                  <a:lnTo>
                    <a:pt x="791" y="9"/>
                  </a:lnTo>
                  <a:lnTo>
                    <a:pt x="89" y="0"/>
                  </a:lnTo>
                  <a:lnTo>
                    <a:pt x="51" y="2965"/>
                  </a:lnTo>
                  <a:cubicBezTo>
                    <a:pt x="51" y="2965"/>
                    <a:pt x="0" y="3701"/>
                    <a:pt x="683" y="3708"/>
                  </a:cubicBezTo>
                  <a:lnTo>
                    <a:pt x="684" y="3708"/>
                  </a:lnTo>
                  <a:lnTo>
                    <a:pt x="1357" y="3717"/>
                  </a:lnTo>
                  <a:lnTo>
                    <a:pt x="1364" y="3169"/>
                  </a:lnTo>
                  <a:lnTo>
                    <a:pt x="960" y="31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grpSp>
        <p:nvGrpSpPr>
          <p:cNvPr id="14" name="Group 13">
            <a:extLst>
              <a:ext uri="{FF2B5EF4-FFF2-40B4-BE49-F238E27FC236}">
                <a16:creationId xmlns:a16="http://schemas.microsoft.com/office/drawing/2014/main" id="{15D5932D-A4DD-3E4B-BE00-A9BA8EC413C0}"/>
              </a:ext>
            </a:extLst>
          </p:cNvPr>
          <p:cNvGrpSpPr/>
          <p:nvPr userDrawn="1"/>
        </p:nvGrpSpPr>
        <p:grpSpPr>
          <a:xfrm>
            <a:off x="-7916" y="0"/>
            <a:ext cx="12193199" cy="6868077"/>
            <a:chOff x="3392488" y="1893888"/>
            <a:chExt cx="1028700" cy="579437"/>
          </a:xfrm>
        </p:grpSpPr>
        <p:sp>
          <p:nvSpPr>
            <p:cNvPr id="15" name="Freeform 51">
              <a:extLst>
                <a:ext uri="{FF2B5EF4-FFF2-40B4-BE49-F238E27FC236}">
                  <a16:creationId xmlns:a16="http://schemas.microsoft.com/office/drawing/2014/main" id="{AD7780EA-FA55-B04A-89EA-2243F452C070}"/>
                </a:ext>
              </a:extLst>
            </p:cNvPr>
            <p:cNvSpPr>
              <a:spLocks noChangeArrowheads="1"/>
            </p:cNvSpPr>
            <p:nvPr/>
          </p:nvSpPr>
          <p:spPr bwMode="auto">
            <a:xfrm>
              <a:off x="3770313" y="1893888"/>
              <a:ext cx="334962" cy="144462"/>
            </a:xfrm>
            <a:custGeom>
              <a:avLst/>
              <a:gdLst>
                <a:gd name="T0" fmla="*/ 50 w 932"/>
                <a:gd name="T1" fmla="*/ 260 h 400"/>
                <a:gd name="T2" fmla="*/ 345 w 932"/>
                <a:gd name="T3" fmla="*/ 339 h 400"/>
                <a:gd name="T4" fmla="*/ 931 w 932"/>
                <a:gd name="T5" fmla="*/ 0 h 400"/>
                <a:gd name="T6" fmla="*/ 83 w 932"/>
                <a:gd name="T7" fmla="*/ 0 h 400"/>
                <a:gd name="T8" fmla="*/ 50 w 932"/>
                <a:gd name="T9" fmla="*/ 260 h 400"/>
              </a:gdLst>
              <a:ahLst/>
              <a:cxnLst>
                <a:cxn ang="0">
                  <a:pos x="T0" y="T1"/>
                </a:cxn>
                <a:cxn ang="0">
                  <a:pos x="T2" y="T3"/>
                </a:cxn>
                <a:cxn ang="0">
                  <a:pos x="T4" y="T5"/>
                </a:cxn>
                <a:cxn ang="0">
                  <a:pos x="T6" y="T7"/>
                </a:cxn>
                <a:cxn ang="0">
                  <a:pos x="T8" y="T9"/>
                </a:cxn>
              </a:cxnLst>
              <a:rect l="0" t="0" r="r" b="b"/>
              <a:pathLst>
                <a:path w="932" h="400">
                  <a:moveTo>
                    <a:pt x="50" y="260"/>
                  </a:moveTo>
                  <a:cubicBezTo>
                    <a:pt x="110" y="363"/>
                    <a:pt x="242" y="399"/>
                    <a:pt x="345" y="339"/>
                  </a:cubicBezTo>
                  <a:lnTo>
                    <a:pt x="931" y="0"/>
                  </a:lnTo>
                  <a:lnTo>
                    <a:pt x="83" y="0"/>
                  </a:lnTo>
                  <a:cubicBezTo>
                    <a:pt x="17" y="68"/>
                    <a:pt x="0" y="174"/>
                    <a:pt x="50" y="260"/>
                  </a:cubicBezTo>
                </a:path>
              </a:pathLst>
            </a:custGeom>
            <a:solidFill>
              <a:schemeClr val="accent4">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6" name="Freeform 52">
              <a:extLst>
                <a:ext uri="{FF2B5EF4-FFF2-40B4-BE49-F238E27FC236}">
                  <a16:creationId xmlns:a16="http://schemas.microsoft.com/office/drawing/2014/main" id="{F6D90039-3B54-8941-982C-0984EED19320}"/>
                </a:ext>
              </a:extLst>
            </p:cNvPr>
            <p:cNvSpPr>
              <a:spLocks noChangeArrowheads="1"/>
            </p:cNvSpPr>
            <p:nvPr/>
          </p:nvSpPr>
          <p:spPr bwMode="auto">
            <a:xfrm>
              <a:off x="3392488" y="2146300"/>
              <a:ext cx="77787" cy="153988"/>
            </a:xfrm>
            <a:custGeom>
              <a:avLst/>
              <a:gdLst>
                <a:gd name="T0" fmla="*/ 155 w 215"/>
                <a:gd name="T1" fmla="*/ 105 h 428"/>
                <a:gd name="T2" fmla="*/ 0 w 215"/>
                <a:gd name="T3" fmla="*/ 0 h 428"/>
                <a:gd name="T4" fmla="*/ 0 w 215"/>
                <a:gd name="T5" fmla="*/ 66 h 428"/>
                <a:gd name="T6" fmla="*/ 98 w 215"/>
                <a:gd name="T7" fmla="*/ 138 h 428"/>
                <a:gd name="T8" fmla="*/ 113 w 215"/>
                <a:gd name="T9" fmla="*/ 252 h 428"/>
                <a:gd name="T10" fmla="*/ 43 w 215"/>
                <a:gd name="T11" fmla="*/ 344 h 428"/>
                <a:gd name="T12" fmla="*/ 0 w 215"/>
                <a:gd name="T13" fmla="*/ 360 h 428"/>
                <a:gd name="T14" fmla="*/ 0 w 215"/>
                <a:gd name="T15" fmla="*/ 427 h 428"/>
                <a:gd name="T16" fmla="*/ 76 w 215"/>
                <a:gd name="T17" fmla="*/ 400 h 428"/>
                <a:gd name="T18" fmla="*/ 155 w 215"/>
                <a:gd name="T19" fmla="*/ 10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428">
                  <a:moveTo>
                    <a:pt x="155" y="105"/>
                  </a:moveTo>
                  <a:cubicBezTo>
                    <a:pt x="121" y="46"/>
                    <a:pt x="63" y="10"/>
                    <a:pt x="0" y="0"/>
                  </a:cubicBezTo>
                  <a:lnTo>
                    <a:pt x="0" y="66"/>
                  </a:lnTo>
                  <a:cubicBezTo>
                    <a:pt x="41" y="76"/>
                    <a:pt x="77" y="101"/>
                    <a:pt x="98" y="138"/>
                  </a:cubicBezTo>
                  <a:cubicBezTo>
                    <a:pt x="118" y="173"/>
                    <a:pt x="123" y="213"/>
                    <a:pt x="113" y="252"/>
                  </a:cubicBezTo>
                  <a:cubicBezTo>
                    <a:pt x="102" y="291"/>
                    <a:pt x="78" y="324"/>
                    <a:pt x="43" y="344"/>
                  </a:cubicBezTo>
                  <a:cubicBezTo>
                    <a:pt x="30" y="351"/>
                    <a:pt x="15" y="357"/>
                    <a:pt x="0" y="360"/>
                  </a:cubicBezTo>
                  <a:lnTo>
                    <a:pt x="0" y="427"/>
                  </a:lnTo>
                  <a:cubicBezTo>
                    <a:pt x="26" y="423"/>
                    <a:pt x="52" y="414"/>
                    <a:pt x="76" y="400"/>
                  </a:cubicBezTo>
                  <a:cubicBezTo>
                    <a:pt x="179" y="341"/>
                    <a:pt x="214" y="209"/>
                    <a:pt x="155" y="105"/>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7" name="Freeform 53">
              <a:extLst>
                <a:ext uri="{FF2B5EF4-FFF2-40B4-BE49-F238E27FC236}">
                  <a16:creationId xmlns:a16="http://schemas.microsoft.com/office/drawing/2014/main" id="{B354F5F9-31DE-E841-84AB-2471A41A6119}"/>
                </a:ext>
              </a:extLst>
            </p:cNvPr>
            <p:cNvSpPr>
              <a:spLocks noChangeArrowheads="1"/>
            </p:cNvSpPr>
            <p:nvPr/>
          </p:nvSpPr>
          <p:spPr bwMode="auto">
            <a:xfrm>
              <a:off x="3892550" y="2281238"/>
              <a:ext cx="423863" cy="192087"/>
            </a:xfrm>
            <a:custGeom>
              <a:avLst/>
              <a:gdLst>
                <a:gd name="T0" fmla="*/ 1116 w 1176"/>
                <a:gd name="T1" fmla="*/ 139 h 535"/>
                <a:gd name="T2" fmla="*/ 821 w 1176"/>
                <a:gd name="T3" fmla="*/ 60 h 535"/>
                <a:gd name="T4" fmla="*/ 0 w 1176"/>
                <a:gd name="T5" fmla="*/ 534 h 535"/>
                <a:gd name="T6" fmla="*/ 864 w 1176"/>
                <a:gd name="T7" fmla="*/ 534 h 535"/>
                <a:gd name="T8" fmla="*/ 1037 w 1176"/>
                <a:gd name="T9" fmla="*/ 434 h 535"/>
                <a:gd name="T10" fmla="*/ 1116 w 1176"/>
                <a:gd name="T11" fmla="*/ 139 h 535"/>
              </a:gdLst>
              <a:ahLst/>
              <a:cxnLst>
                <a:cxn ang="0">
                  <a:pos x="T0" y="T1"/>
                </a:cxn>
                <a:cxn ang="0">
                  <a:pos x="T2" y="T3"/>
                </a:cxn>
                <a:cxn ang="0">
                  <a:pos x="T4" y="T5"/>
                </a:cxn>
                <a:cxn ang="0">
                  <a:pos x="T6" y="T7"/>
                </a:cxn>
                <a:cxn ang="0">
                  <a:pos x="T8" y="T9"/>
                </a:cxn>
                <a:cxn ang="0">
                  <a:pos x="T10" y="T11"/>
                </a:cxn>
              </a:cxnLst>
              <a:rect l="0" t="0" r="r" b="b"/>
              <a:pathLst>
                <a:path w="1176" h="535">
                  <a:moveTo>
                    <a:pt x="1116" y="139"/>
                  </a:moveTo>
                  <a:cubicBezTo>
                    <a:pt x="1056" y="35"/>
                    <a:pt x="924" y="0"/>
                    <a:pt x="821" y="60"/>
                  </a:cubicBezTo>
                  <a:lnTo>
                    <a:pt x="0" y="534"/>
                  </a:lnTo>
                  <a:lnTo>
                    <a:pt x="864" y="534"/>
                  </a:lnTo>
                  <a:lnTo>
                    <a:pt x="1037" y="434"/>
                  </a:lnTo>
                  <a:cubicBezTo>
                    <a:pt x="1140" y="374"/>
                    <a:pt x="1175" y="242"/>
                    <a:pt x="1116" y="139"/>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8" name="Freeform 54">
              <a:extLst>
                <a:ext uri="{FF2B5EF4-FFF2-40B4-BE49-F238E27FC236}">
                  <a16:creationId xmlns:a16="http://schemas.microsoft.com/office/drawing/2014/main" id="{6155E1A0-55B7-1947-9FE4-F149C5B58934}"/>
                </a:ext>
              </a:extLst>
            </p:cNvPr>
            <p:cNvSpPr>
              <a:spLocks noChangeArrowheads="1"/>
            </p:cNvSpPr>
            <p:nvPr/>
          </p:nvSpPr>
          <p:spPr bwMode="auto">
            <a:xfrm>
              <a:off x="4327525" y="2182813"/>
              <a:ext cx="93663" cy="155575"/>
            </a:xfrm>
            <a:custGeom>
              <a:avLst/>
              <a:gdLst>
                <a:gd name="T0" fmla="*/ 139 w 258"/>
                <a:gd name="T1" fmla="*/ 29 h 433"/>
                <a:gd name="T2" fmla="*/ 60 w 258"/>
                <a:gd name="T3" fmla="*/ 324 h 433"/>
                <a:gd name="T4" fmla="*/ 247 w 258"/>
                <a:gd name="T5" fmla="*/ 432 h 433"/>
                <a:gd name="T6" fmla="*/ 257 w 258"/>
                <a:gd name="T7" fmla="*/ 432 h 433"/>
                <a:gd name="T8" fmla="*/ 257 w 258"/>
                <a:gd name="T9" fmla="*/ 366 h 433"/>
                <a:gd name="T10" fmla="*/ 247 w 258"/>
                <a:gd name="T11" fmla="*/ 367 h 433"/>
                <a:gd name="T12" fmla="*/ 116 w 258"/>
                <a:gd name="T13" fmla="*/ 291 h 433"/>
                <a:gd name="T14" fmla="*/ 101 w 258"/>
                <a:gd name="T15" fmla="*/ 177 h 433"/>
                <a:gd name="T16" fmla="*/ 171 w 258"/>
                <a:gd name="T17" fmla="*/ 86 h 433"/>
                <a:gd name="T18" fmla="*/ 247 w 258"/>
                <a:gd name="T19" fmla="*/ 66 h 433"/>
                <a:gd name="T20" fmla="*/ 247 w 258"/>
                <a:gd name="T21" fmla="*/ 66 h 433"/>
                <a:gd name="T22" fmla="*/ 257 w 258"/>
                <a:gd name="T23" fmla="*/ 66 h 433"/>
                <a:gd name="T24" fmla="*/ 257 w 258"/>
                <a:gd name="T25" fmla="*/ 0 h 433"/>
                <a:gd name="T26" fmla="*/ 247 w 258"/>
                <a:gd name="T27" fmla="*/ 0 h 433"/>
                <a:gd name="T28" fmla="*/ 139 w 258"/>
                <a:gd name="T29" fmla="*/ 29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433">
                  <a:moveTo>
                    <a:pt x="139" y="29"/>
                  </a:moveTo>
                  <a:cubicBezTo>
                    <a:pt x="36" y="89"/>
                    <a:pt x="0" y="221"/>
                    <a:pt x="60" y="324"/>
                  </a:cubicBezTo>
                  <a:cubicBezTo>
                    <a:pt x="100" y="393"/>
                    <a:pt x="172" y="432"/>
                    <a:pt x="247" y="432"/>
                  </a:cubicBezTo>
                  <a:cubicBezTo>
                    <a:pt x="250" y="432"/>
                    <a:pt x="253" y="432"/>
                    <a:pt x="257" y="432"/>
                  </a:cubicBezTo>
                  <a:lnTo>
                    <a:pt x="257" y="366"/>
                  </a:lnTo>
                  <a:cubicBezTo>
                    <a:pt x="253" y="367"/>
                    <a:pt x="250" y="367"/>
                    <a:pt x="247" y="367"/>
                  </a:cubicBezTo>
                  <a:cubicBezTo>
                    <a:pt x="193" y="367"/>
                    <a:pt x="143" y="338"/>
                    <a:pt x="116" y="291"/>
                  </a:cubicBezTo>
                  <a:cubicBezTo>
                    <a:pt x="96" y="257"/>
                    <a:pt x="90" y="216"/>
                    <a:pt x="101" y="177"/>
                  </a:cubicBezTo>
                  <a:cubicBezTo>
                    <a:pt x="111" y="138"/>
                    <a:pt x="137" y="106"/>
                    <a:pt x="171" y="86"/>
                  </a:cubicBezTo>
                  <a:cubicBezTo>
                    <a:pt x="194" y="73"/>
                    <a:pt x="220" y="66"/>
                    <a:pt x="247" y="66"/>
                  </a:cubicBezTo>
                  <a:lnTo>
                    <a:pt x="247" y="66"/>
                  </a:lnTo>
                  <a:cubicBezTo>
                    <a:pt x="250" y="66"/>
                    <a:pt x="253" y="66"/>
                    <a:pt x="257" y="66"/>
                  </a:cubicBezTo>
                  <a:lnTo>
                    <a:pt x="257" y="0"/>
                  </a:lnTo>
                  <a:cubicBezTo>
                    <a:pt x="253" y="0"/>
                    <a:pt x="250" y="0"/>
                    <a:pt x="247" y="0"/>
                  </a:cubicBezTo>
                  <a:cubicBezTo>
                    <a:pt x="210" y="0"/>
                    <a:pt x="173" y="9"/>
                    <a:pt x="139" y="29"/>
                  </a:cubicBezTo>
                </a:path>
              </a:pathLst>
            </a:custGeom>
            <a:solidFill>
              <a:schemeClr val="accent1">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3875474447"/>
      </p:ext>
    </p:extLst>
  </p:cSld>
  <p:clrMapOvr>
    <a:masterClrMapping/>
  </p:clrMapOvr>
  <p:extLst>
    <p:ext uri="{DCECCB84-F9BA-43D5-87BE-67443E8EF086}">
      <p15:sldGuideLst xmlns:p15="http://schemas.microsoft.com/office/powerpoint/2012/main">
        <p15:guide id="1" orient="horz" pos="3703">
          <p15:clr>
            <a:srgbClr val="FBAE40"/>
          </p15:clr>
        </p15:guide>
        <p15:guide id="2" pos="442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One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489BAD-C434-4078-BE58-E00F617CC117}"/>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C220272-04AD-46E6-8825-0D608A949740}"/>
              </a:ext>
            </a:extLst>
          </p:cNvPr>
          <p:cNvSpPr>
            <a:spLocks noGrp="1"/>
          </p:cNvSpPr>
          <p:nvPr>
            <p:ph type="dt" sz="half" idx="10"/>
          </p:nvPr>
        </p:nvSpPr>
        <p:spPr/>
        <p:txBody>
          <a:bodyPr/>
          <a:lstStyle/>
          <a:p>
            <a:fld id="{00B7A701-B70B-48A4-9EFB-4F00A3212127}" type="datetime3">
              <a:rPr lang="en-US" noProof="0" smtClean="0"/>
              <a:t>22 December 2023</a:t>
            </a:fld>
            <a:endParaRPr lang="en-GB" noProof="0" dirty="0"/>
          </a:p>
        </p:txBody>
      </p:sp>
      <p:sp>
        <p:nvSpPr>
          <p:cNvPr id="4" name="Footer Placeholder 3">
            <a:extLst>
              <a:ext uri="{FF2B5EF4-FFF2-40B4-BE49-F238E27FC236}">
                <a16:creationId xmlns:a16="http://schemas.microsoft.com/office/drawing/2014/main" id="{704641EC-A4D5-4A94-8176-85A2404E2ACC}"/>
              </a:ext>
            </a:extLst>
          </p:cNvPr>
          <p:cNvSpPr>
            <a:spLocks noGrp="1"/>
          </p:cNvSpPr>
          <p:nvPr>
            <p:ph type="ftr" sz="quarter" idx="11"/>
          </p:nvPr>
        </p:nvSpPr>
        <p:spPr/>
        <p:txBody>
          <a:bodyPr/>
          <a:lstStyle/>
          <a:p>
            <a:pPr>
              <a:lnSpc>
                <a:spcPts val="970"/>
              </a:lnSpc>
            </a:pPr>
            <a:r>
              <a:rPr lang="en-GB" dirty="0">
                <a:solidFill>
                  <a:schemeClr val="accent2"/>
                </a:solidFill>
              </a:rPr>
              <a:t>© Colt Technology Services  |  Presentation title here</a:t>
            </a:r>
          </a:p>
        </p:txBody>
      </p:sp>
      <p:sp>
        <p:nvSpPr>
          <p:cNvPr id="5" name="Slide Number Placeholder 4">
            <a:extLst>
              <a:ext uri="{FF2B5EF4-FFF2-40B4-BE49-F238E27FC236}">
                <a16:creationId xmlns:a16="http://schemas.microsoft.com/office/drawing/2014/main" id="{DA0B89E5-F2CC-40AF-A89A-1135461CCB5A}"/>
              </a:ext>
            </a:extLst>
          </p:cNvPr>
          <p:cNvSpPr>
            <a:spLocks noGrp="1"/>
          </p:cNvSpPr>
          <p:nvPr>
            <p:ph type="sldNum" sz="quarter" idx="12"/>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sp>
        <p:nvSpPr>
          <p:cNvPr id="9" name="Chart Placeholder 8">
            <a:extLst>
              <a:ext uri="{FF2B5EF4-FFF2-40B4-BE49-F238E27FC236}">
                <a16:creationId xmlns:a16="http://schemas.microsoft.com/office/drawing/2014/main" id="{D783B02A-9565-4B08-A2A1-8C33C7BC6435}"/>
              </a:ext>
            </a:extLst>
          </p:cNvPr>
          <p:cNvSpPr>
            <a:spLocks noGrp="1"/>
          </p:cNvSpPr>
          <p:nvPr>
            <p:ph type="chart" sz="quarter" idx="13"/>
          </p:nvPr>
        </p:nvSpPr>
        <p:spPr>
          <a:xfrm>
            <a:off x="468000" y="1354138"/>
            <a:ext cx="11257200" cy="4824000"/>
          </a:xfrm>
        </p:spPr>
        <p:txBody>
          <a:bodyPr/>
          <a:lstStyle/>
          <a:p>
            <a:endParaRPr lang="en-GB" dirty="0"/>
          </a:p>
        </p:txBody>
      </p:sp>
    </p:spTree>
    <p:extLst>
      <p:ext uri="{BB962C8B-B14F-4D97-AF65-F5344CB8AC3E}">
        <p14:creationId xmlns:p14="http://schemas.microsoft.com/office/powerpoint/2010/main" val="16704573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489BAD-C434-4078-BE58-E00F617CC117}"/>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C220272-04AD-46E6-8825-0D608A949740}"/>
              </a:ext>
            </a:extLst>
          </p:cNvPr>
          <p:cNvSpPr>
            <a:spLocks noGrp="1"/>
          </p:cNvSpPr>
          <p:nvPr>
            <p:ph type="dt" sz="half" idx="10"/>
          </p:nvPr>
        </p:nvSpPr>
        <p:spPr/>
        <p:txBody>
          <a:bodyPr/>
          <a:lstStyle/>
          <a:p>
            <a:fld id="{00B7A701-B70B-48A4-9EFB-4F00A3212127}" type="datetime3">
              <a:rPr lang="en-US" noProof="0" smtClean="0"/>
              <a:t>22 December 2023</a:t>
            </a:fld>
            <a:endParaRPr lang="en-GB" noProof="0" dirty="0"/>
          </a:p>
        </p:txBody>
      </p:sp>
      <p:sp>
        <p:nvSpPr>
          <p:cNvPr id="4" name="Footer Placeholder 3">
            <a:extLst>
              <a:ext uri="{FF2B5EF4-FFF2-40B4-BE49-F238E27FC236}">
                <a16:creationId xmlns:a16="http://schemas.microsoft.com/office/drawing/2014/main" id="{704641EC-A4D5-4A94-8176-85A2404E2ACC}"/>
              </a:ext>
            </a:extLst>
          </p:cNvPr>
          <p:cNvSpPr>
            <a:spLocks noGrp="1"/>
          </p:cNvSpPr>
          <p:nvPr>
            <p:ph type="ftr" sz="quarter" idx="11"/>
          </p:nvPr>
        </p:nvSpPr>
        <p:spPr/>
        <p:txBody>
          <a:bodyPr/>
          <a:lstStyle/>
          <a:p>
            <a:pPr>
              <a:lnSpc>
                <a:spcPts val="970"/>
              </a:lnSpc>
            </a:pPr>
            <a:r>
              <a:rPr lang="en-GB" dirty="0">
                <a:solidFill>
                  <a:schemeClr val="accent2"/>
                </a:solidFill>
              </a:rPr>
              <a:t>© Colt Technology Services  |  Presentation title here</a:t>
            </a:r>
          </a:p>
        </p:txBody>
      </p:sp>
      <p:sp>
        <p:nvSpPr>
          <p:cNvPr id="5" name="Slide Number Placeholder 4">
            <a:extLst>
              <a:ext uri="{FF2B5EF4-FFF2-40B4-BE49-F238E27FC236}">
                <a16:creationId xmlns:a16="http://schemas.microsoft.com/office/drawing/2014/main" id="{DA0B89E5-F2CC-40AF-A89A-1135461CCB5A}"/>
              </a:ext>
            </a:extLst>
          </p:cNvPr>
          <p:cNvSpPr>
            <a:spLocks noGrp="1"/>
          </p:cNvSpPr>
          <p:nvPr>
            <p:ph type="sldNum" sz="quarter" idx="12"/>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sp>
        <p:nvSpPr>
          <p:cNvPr id="9" name="Chart Placeholder 8">
            <a:extLst>
              <a:ext uri="{FF2B5EF4-FFF2-40B4-BE49-F238E27FC236}">
                <a16:creationId xmlns:a16="http://schemas.microsoft.com/office/drawing/2014/main" id="{D783B02A-9565-4B08-A2A1-8C33C7BC6435}"/>
              </a:ext>
            </a:extLst>
          </p:cNvPr>
          <p:cNvSpPr>
            <a:spLocks noGrp="1"/>
          </p:cNvSpPr>
          <p:nvPr>
            <p:ph type="chart" sz="quarter" idx="13"/>
          </p:nvPr>
        </p:nvSpPr>
        <p:spPr>
          <a:xfrm>
            <a:off x="471601" y="1354139"/>
            <a:ext cx="5158800" cy="4824000"/>
          </a:xfrm>
        </p:spPr>
        <p:txBody>
          <a:bodyPr/>
          <a:lstStyle/>
          <a:p>
            <a:endParaRPr lang="en-GB" dirty="0"/>
          </a:p>
        </p:txBody>
      </p:sp>
      <p:sp>
        <p:nvSpPr>
          <p:cNvPr id="7" name="Chart Placeholder 6">
            <a:extLst>
              <a:ext uri="{FF2B5EF4-FFF2-40B4-BE49-F238E27FC236}">
                <a16:creationId xmlns:a16="http://schemas.microsoft.com/office/drawing/2014/main" id="{3D260D16-6A6A-4F11-89B0-158FF91D3C6F}"/>
              </a:ext>
            </a:extLst>
          </p:cNvPr>
          <p:cNvSpPr>
            <a:spLocks noGrp="1"/>
          </p:cNvSpPr>
          <p:nvPr>
            <p:ph type="chart" sz="quarter" idx="14"/>
          </p:nvPr>
        </p:nvSpPr>
        <p:spPr>
          <a:xfrm>
            <a:off x="6566400" y="1354137"/>
            <a:ext cx="5158800" cy="4824000"/>
          </a:xfrm>
        </p:spPr>
        <p:txBody>
          <a:bodyPr/>
          <a:lstStyle/>
          <a:p>
            <a:endParaRPr lang="en-GB" dirty="0"/>
          </a:p>
        </p:txBody>
      </p:sp>
    </p:spTree>
    <p:extLst>
      <p:ext uri="{BB962C8B-B14F-4D97-AF65-F5344CB8AC3E}">
        <p14:creationId xmlns:p14="http://schemas.microsoft.com/office/powerpoint/2010/main" val="31412345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Date Placeholder 2"/>
          <p:cNvSpPr>
            <a:spLocks noGrp="1"/>
          </p:cNvSpPr>
          <p:nvPr>
            <p:ph type="dt" sz="half" idx="10"/>
          </p:nvPr>
        </p:nvSpPr>
        <p:spPr/>
        <p:txBody>
          <a:bodyPr/>
          <a:lstStyle/>
          <a:p>
            <a:fld id="{A64071B6-7FBF-4BB3-B86C-3E6FEC5E2F66}" type="datetime3">
              <a:rPr lang="en-US" noProof="0" smtClean="0"/>
              <a:t>22 December 2023</a:t>
            </a:fld>
            <a:endParaRPr lang="en-GB" noProof="0" dirty="0"/>
          </a:p>
        </p:txBody>
      </p:sp>
      <p:sp>
        <p:nvSpPr>
          <p:cNvPr id="4" name="Footer Placeholder 3"/>
          <p:cNvSpPr>
            <a:spLocks noGrp="1"/>
          </p:cNvSpPr>
          <p:nvPr>
            <p:ph type="ftr" sz="quarter" idx="11"/>
          </p:nvPr>
        </p:nvSpPr>
        <p:spPr/>
        <p:txBody>
          <a:bodyPr/>
          <a:lstStyle/>
          <a:p>
            <a:r>
              <a:rPr lang="en-GB" noProof="0" dirty="0"/>
              <a:t>© Colt Technology Services  |  Presentation title here</a:t>
            </a:r>
          </a:p>
        </p:txBody>
      </p:sp>
      <p:sp>
        <p:nvSpPr>
          <p:cNvPr id="5" name="Slide Number Placeholder 4"/>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dirty="0"/>
          </a:p>
        </p:txBody>
      </p:sp>
      <p:sp>
        <p:nvSpPr>
          <p:cNvPr id="6" name="TextBox 5">
            <a:extLst>
              <a:ext uri="{FF2B5EF4-FFF2-40B4-BE49-F238E27FC236}">
                <a16:creationId xmlns:a16="http://schemas.microsoft.com/office/drawing/2014/main" id="{6CCF44E0-F48A-424A-9734-45AEA727F397}"/>
              </a:ext>
            </a:extLst>
          </p:cNvPr>
          <p:cNvSpPr txBox="1"/>
          <p:nvPr userDrawn="1"/>
        </p:nvSpPr>
        <p:spPr>
          <a:xfrm>
            <a:off x="10028583" y="536713"/>
            <a:ext cx="0" cy="0"/>
          </a:xfrm>
          <a:prstGeom prst="rect">
            <a:avLst/>
          </a:prstGeom>
          <a:noFill/>
        </p:spPr>
        <p:txBody>
          <a:bodyPr wrap="none" lIns="0" tIns="0" rIns="0" bIns="0" rtlCol="0">
            <a:noAutofit/>
          </a:bodyPr>
          <a:lstStyle/>
          <a:p>
            <a:pPr algn="l">
              <a:lnSpc>
                <a:spcPts val="2290"/>
              </a:lnSpc>
            </a:pPr>
            <a:endParaRPr lang="en-GB" sz="1940" dirty="0">
              <a:solidFill>
                <a:schemeClr val="tx2"/>
              </a:solidFill>
            </a:endParaRPr>
          </a:p>
        </p:txBody>
      </p:sp>
      <p:sp>
        <p:nvSpPr>
          <p:cNvPr id="7" name="Rectangle 6">
            <a:extLst>
              <a:ext uri="{FF2B5EF4-FFF2-40B4-BE49-F238E27FC236}">
                <a16:creationId xmlns:a16="http://schemas.microsoft.com/office/drawing/2014/main" id="{DFB39950-8354-E070-C8F8-22F23D63AE33}"/>
              </a:ext>
            </a:extLst>
          </p:cNvPr>
          <p:cNvSpPr/>
          <p:nvPr userDrawn="1"/>
        </p:nvSpPr>
        <p:spPr>
          <a:xfrm>
            <a:off x="10616665" y="375385"/>
            <a:ext cx="1260910" cy="38501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70233887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565E0C4-3C8E-42A7-AF1E-1378E74F6B03}" type="datetime3">
              <a:rPr lang="en-US" noProof="0" smtClean="0"/>
              <a:t>22 December 2023</a:t>
            </a:fld>
            <a:endParaRPr lang="en-GB" noProof="0" dirty="0"/>
          </a:p>
        </p:txBody>
      </p:sp>
      <p:sp>
        <p:nvSpPr>
          <p:cNvPr id="3" name="Footer Placeholder 2"/>
          <p:cNvSpPr>
            <a:spLocks noGrp="1"/>
          </p:cNvSpPr>
          <p:nvPr>
            <p:ph type="ftr" sz="quarter" idx="11"/>
          </p:nvPr>
        </p:nvSpPr>
        <p:spPr/>
        <p:txBody>
          <a:bodyPr/>
          <a:lstStyle/>
          <a:p>
            <a:r>
              <a:rPr lang="en-GB" noProof="0" dirty="0"/>
              <a:t>© Colt Technology Services  |  Presentation title here</a:t>
            </a:r>
          </a:p>
        </p:txBody>
      </p:sp>
      <p:sp>
        <p:nvSpPr>
          <p:cNvPr id="4" name="Slide Number Placeholder 3"/>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dirty="0"/>
          </a:p>
        </p:txBody>
      </p:sp>
    </p:spTree>
    <p:extLst>
      <p:ext uri="{BB962C8B-B14F-4D97-AF65-F5344CB8AC3E}">
        <p14:creationId xmlns:p14="http://schemas.microsoft.com/office/powerpoint/2010/main" val="37802856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1_Divider v1">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75600" y="2286000"/>
            <a:ext cx="7970400" cy="1037896"/>
          </a:xfrm>
        </p:spPr>
        <p:txBody>
          <a:bodyPr/>
          <a:lstStyle>
            <a:lvl1pPr algn="l">
              <a:lnSpc>
                <a:spcPts val="6630"/>
              </a:lnSpc>
              <a:defRPr sz="6630"/>
            </a:lvl1pPr>
          </a:lstStyle>
          <a:p>
            <a:r>
              <a:rPr lang="en-US" noProof="0" dirty="0"/>
              <a:t>Click to edit </a:t>
            </a:r>
            <a:endParaRPr lang="en-GB" noProof="0" dirty="0"/>
          </a:p>
        </p:txBody>
      </p:sp>
      <p:sp>
        <p:nvSpPr>
          <p:cNvPr id="3" name="Subtitle 2"/>
          <p:cNvSpPr>
            <a:spLocks noGrp="1"/>
          </p:cNvSpPr>
          <p:nvPr>
            <p:ph type="subTitle" idx="1"/>
          </p:nvPr>
        </p:nvSpPr>
        <p:spPr>
          <a:xfrm>
            <a:off x="1886400" y="3323896"/>
            <a:ext cx="7970400" cy="1090761"/>
          </a:xfrm>
        </p:spPr>
        <p:txBody>
          <a:bodyPr/>
          <a:lstStyle>
            <a:lvl1pPr marL="0" indent="0" algn="l">
              <a:lnSpc>
                <a:spcPts val="1940"/>
              </a:lnSpc>
              <a:spcAft>
                <a:spcPts val="0"/>
              </a:spcAft>
              <a:buNone/>
              <a:defRPr sz="159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grpSp>
        <p:nvGrpSpPr>
          <p:cNvPr id="4" name="Group 3">
            <a:extLst>
              <a:ext uri="{FF2B5EF4-FFF2-40B4-BE49-F238E27FC236}">
                <a16:creationId xmlns:a16="http://schemas.microsoft.com/office/drawing/2014/main" id="{6BB81531-5CC4-6B4B-AED0-4FE8DA5991CB}"/>
              </a:ext>
            </a:extLst>
          </p:cNvPr>
          <p:cNvGrpSpPr/>
          <p:nvPr userDrawn="1"/>
        </p:nvGrpSpPr>
        <p:grpSpPr>
          <a:xfrm>
            <a:off x="0" y="0"/>
            <a:ext cx="12192000" cy="6848592"/>
            <a:chOff x="3392488" y="3576638"/>
            <a:chExt cx="1028700" cy="577850"/>
          </a:xfrm>
        </p:grpSpPr>
        <p:sp>
          <p:nvSpPr>
            <p:cNvPr id="5" name="Freeform 67">
              <a:extLst>
                <a:ext uri="{FF2B5EF4-FFF2-40B4-BE49-F238E27FC236}">
                  <a16:creationId xmlns:a16="http://schemas.microsoft.com/office/drawing/2014/main" id="{C7E90FA0-7C81-3848-A4F4-E6CCCB1F0933}"/>
                </a:ext>
              </a:extLst>
            </p:cNvPr>
            <p:cNvSpPr>
              <a:spLocks noChangeArrowheads="1"/>
            </p:cNvSpPr>
            <p:nvPr/>
          </p:nvSpPr>
          <p:spPr bwMode="auto">
            <a:xfrm>
              <a:off x="3392488" y="3829050"/>
              <a:ext cx="77787" cy="153988"/>
            </a:xfrm>
            <a:custGeom>
              <a:avLst/>
              <a:gdLst>
                <a:gd name="T0" fmla="*/ 155 w 215"/>
                <a:gd name="T1" fmla="*/ 105 h 427"/>
                <a:gd name="T2" fmla="*/ 0 w 215"/>
                <a:gd name="T3" fmla="*/ 0 h 427"/>
                <a:gd name="T4" fmla="*/ 0 w 215"/>
                <a:gd name="T5" fmla="*/ 66 h 427"/>
                <a:gd name="T6" fmla="*/ 98 w 215"/>
                <a:gd name="T7" fmla="*/ 137 h 427"/>
                <a:gd name="T8" fmla="*/ 43 w 215"/>
                <a:gd name="T9" fmla="*/ 343 h 427"/>
                <a:gd name="T10" fmla="*/ 0 w 215"/>
                <a:gd name="T11" fmla="*/ 359 h 427"/>
                <a:gd name="T12" fmla="*/ 0 w 215"/>
                <a:gd name="T13" fmla="*/ 426 h 427"/>
                <a:gd name="T14" fmla="*/ 76 w 215"/>
                <a:gd name="T15" fmla="*/ 400 h 427"/>
                <a:gd name="T16" fmla="*/ 155 w 215"/>
                <a:gd name="T17" fmla="*/ 105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427">
                  <a:moveTo>
                    <a:pt x="155" y="105"/>
                  </a:moveTo>
                  <a:cubicBezTo>
                    <a:pt x="121" y="47"/>
                    <a:pt x="63" y="10"/>
                    <a:pt x="0" y="0"/>
                  </a:cubicBezTo>
                  <a:lnTo>
                    <a:pt x="0" y="66"/>
                  </a:lnTo>
                  <a:cubicBezTo>
                    <a:pt x="41" y="75"/>
                    <a:pt x="77" y="100"/>
                    <a:pt x="98" y="137"/>
                  </a:cubicBezTo>
                  <a:cubicBezTo>
                    <a:pt x="140" y="209"/>
                    <a:pt x="115" y="301"/>
                    <a:pt x="43" y="343"/>
                  </a:cubicBezTo>
                  <a:cubicBezTo>
                    <a:pt x="30" y="351"/>
                    <a:pt x="15" y="356"/>
                    <a:pt x="0" y="359"/>
                  </a:cubicBezTo>
                  <a:lnTo>
                    <a:pt x="0" y="426"/>
                  </a:lnTo>
                  <a:cubicBezTo>
                    <a:pt x="26" y="422"/>
                    <a:pt x="52" y="413"/>
                    <a:pt x="76" y="400"/>
                  </a:cubicBezTo>
                  <a:cubicBezTo>
                    <a:pt x="179" y="340"/>
                    <a:pt x="214" y="208"/>
                    <a:pt x="155" y="105"/>
                  </a:cubicBezTo>
                </a:path>
              </a:pathLst>
            </a:custGeom>
            <a:solidFill>
              <a:schemeClr val="accent6">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6" name="Freeform 68">
              <a:extLst>
                <a:ext uri="{FF2B5EF4-FFF2-40B4-BE49-F238E27FC236}">
                  <a16:creationId xmlns:a16="http://schemas.microsoft.com/office/drawing/2014/main" id="{F01D7CD4-C93B-CA49-B9CD-755FC365417D}"/>
                </a:ext>
              </a:extLst>
            </p:cNvPr>
            <p:cNvSpPr>
              <a:spLocks noChangeArrowheads="1"/>
            </p:cNvSpPr>
            <p:nvPr/>
          </p:nvSpPr>
          <p:spPr bwMode="auto">
            <a:xfrm>
              <a:off x="4139362" y="3971146"/>
              <a:ext cx="163513" cy="169863"/>
            </a:xfrm>
            <a:custGeom>
              <a:avLst/>
              <a:gdLst>
                <a:gd name="T0" fmla="*/ 324 w 456"/>
                <a:gd name="T1" fmla="*/ 178 h 470"/>
                <a:gd name="T2" fmla="*/ 303 w 456"/>
                <a:gd name="T3" fmla="*/ 14 h 470"/>
                <a:gd name="T4" fmla="*/ 139 w 456"/>
                <a:gd name="T5" fmla="*/ 36 h 470"/>
                <a:gd name="T6" fmla="*/ 60 w 456"/>
                <a:gd name="T7" fmla="*/ 331 h 470"/>
                <a:gd name="T8" fmla="*/ 355 w 456"/>
                <a:gd name="T9" fmla="*/ 410 h 470"/>
                <a:gd name="T10" fmla="*/ 455 w 456"/>
                <a:gd name="T11" fmla="*/ 279 h 470"/>
                <a:gd name="T12" fmla="*/ 324 w 456"/>
                <a:gd name="T13" fmla="*/ 178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24" y="178"/>
                  </a:moveTo>
                  <a:cubicBezTo>
                    <a:pt x="294" y="126"/>
                    <a:pt x="288" y="67"/>
                    <a:pt x="303" y="14"/>
                  </a:cubicBezTo>
                  <a:cubicBezTo>
                    <a:pt x="249" y="0"/>
                    <a:pt x="190" y="6"/>
                    <a:pt x="139" y="36"/>
                  </a:cubicBezTo>
                  <a:cubicBezTo>
                    <a:pt x="36" y="95"/>
                    <a:pt x="0" y="227"/>
                    <a:pt x="60" y="331"/>
                  </a:cubicBezTo>
                  <a:cubicBezTo>
                    <a:pt x="119" y="434"/>
                    <a:pt x="252" y="469"/>
                    <a:pt x="355" y="410"/>
                  </a:cubicBezTo>
                  <a:cubicBezTo>
                    <a:pt x="406" y="380"/>
                    <a:pt x="441" y="332"/>
                    <a:pt x="455" y="279"/>
                  </a:cubicBezTo>
                  <a:cubicBezTo>
                    <a:pt x="402" y="264"/>
                    <a:pt x="354" y="230"/>
                    <a:pt x="324" y="178"/>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7" name="Freeform 69">
              <a:extLst>
                <a:ext uri="{FF2B5EF4-FFF2-40B4-BE49-F238E27FC236}">
                  <a16:creationId xmlns:a16="http://schemas.microsoft.com/office/drawing/2014/main" id="{833E9BA3-DF9B-9942-9845-1042CEF3F3E3}"/>
                </a:ext>
              </a:extLst>
            </p:cNvPr>
            <p:cNvSpPr>
              <a:spLocks noChangeArrowheads="1"/>
            </p:cNvSpPr>
            <p:nvPr/>
          </p:nvSpPr>
          <p:spPr bwMode="auto">
            <a:xfrm>
              <a:off x="4250546" y="3740959"/>
              <a:ext cx="38100" cy="61912"/>
            </a:xfrm>
            <a:custGeom>
              <a:avLst/>
              <a:gdLst>
                <a:gd name="T0" fmla="*/ 7 w 107"/>
                <a:gd name="T1" fmla="*/ 0 h 173"/>
                <a:gd name="T2" fmla="*/ 24 w 107"/>
                <a:gd name="T3" fmla="*/ 105 h 173"/>
                <a:gd name="T4" fmla="*/ 106 w 107"/>
                <a:gd name="T5" fmla="*/ 172 h 173"/>
                <a:gd name="T6" fmla="*/ 77 w 107"/>
                <a:gd name="T7" fmla="*/ 74 h 173"/>
                <a:gd name="T8" fmla="*/ 7 w 107"/>
                <a:gd name="T9" fmla="*/ 0 h 173"/>
              </a:gdLst>
              <a:ahLst/>
              <a:cxnLst>
                <a:cxn ang="0">
                  <a:pos x="T0" y="T1"/>
                </a:cxn>
                <a:cxn ang="0">
                  <a:pos x="T2" y="T3"/>
                </a:cxn>
                <a:cxn ang="0">
                  <a:pos x="T4" y="T5"/>
                </a:cxn>
                <a:cxn ang="0">
                  <a:pos x="T6" y="T7"/>
                </a:cxn>
                <a:cxn ang="0">
                  <a:pos x="T8" y="T9"/>
                </a:cxn>
              </a:cxnLst>
              <a:rect l="0" t="0" r="r" b="b"/>
              <a:pathLst>
                <a:path w="107" h="173">
                  <a:moveTo>
                    <a:pt x="7" y="0"/>
                  </a:moveTo>
                  <a:cubicBezTo>
                    <a:pt x="0" y="36"/>
                    <a:pt x="6" y="73"/>
                    <a:pt x="24" y="105"/>
                  </a:cubicBezTo>
                  <a:cubicBezTo>
                    <a:pt x="42" y="136"/>
                    <a:pt x="72" y="160"/>
                    <a:pt x="106" y="172"/>
                  </a:cubicBezTo>
                  <a:cubicBezTo>
                    <a:pt x="104" y="138"/>
                    <a:pt x="95" y="105"/>
                    <a:pt x="77" y="74"/>
                  </a:cubicBezTo>
                  <a:cubicBezTo>
                    <a:pt x="59" y="43"/>
                    <a:pt x="35" y="18"/>
                    <a:pt x="7" y="0"/>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8" name="Freeform 70">
              <a:extLst>
                <a:ext uri="{FF2B5EF4-FFF2-40B4-BE49-F238E27FC236}">
                  <a16:creationId xmlns:a16="http://schemas.microsoft.com/office/drawing/2014/main" id="{9FC2FE82-D8EC-4046-A708-D267C60498BC}"/>
                </a:ext>
              </a:extLst>
            </p:cNvPr>
            <p:cNvSpPr>
              <a:spLocks noChangeArrowheads="1"/>
            </p:cNvSpPr>
            <p:nvPr/>
          </p:nvSpPr>
          <p:spPr bwMode="auto">
            <a:xfrm>
              <a:off x="4124092" y="3724509"/>
              <a:ext cx="163512" cy="169862"/>
            </a:xfrm>
            <a:custGeom>
              <a:avLst/>
              <a:gdLst>
                <a:gd name="T0" fmla="*/ 355 w 456"/>
                <a:gd name="T1" fmla="*/ 409 h 470"/>
                <a:gd name="T2" fmla="*/ 455 w 456"/>
                <a:gd name="T3" fmla="*/ 279 h 470"/>
                <a:gd name="T4" fmla="*/ 324 w 456"/>
                <a:gd name="T5" fmla="*/ 178 h 470"/>
                <a:gd name="T6" fmla="*/ 303 w 456"/>
                <a:gd name="T7" fmla="*/ 14 h 470"/>
                <a:gd name="T8" fmla="*/ 139 w 456"/>
                <a:gd name="T9" fmla="*/ 36 h 470"/>
                <a:gd name="T10" fmla="*/ 60 w 456"/>
                <a:gd name="T11" fmla="*/ 331 h 470"/>
                <a:gd name="T12" fmla="*/ 355 w 456"/>
                <a:gd name="T13" fmla="*/ 409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55" y="409"/>
                  </a:moveTo>
                  <a:cubicBezTo>
                    <a:pt x="407" y="379"/>
                    <a:pt x="441" y="332"/>
                    <a:pt x="455" y="279"/>
                  </a:cubicBezTo>
                  <a:cubicBezTo>
                    <a:pt x="402" y="265"/>
                    <a:pt x="353" y="229"/>
                    <a:pt x="324" y="178"/>
                  </a:cubicBezTo>
                  <a:cubicBezTo>
                    <a:pt x="294" y="126"/>
                    <a:pt x="288" y="68"/>
                    <a:pt x="303" y="14"/>
                  </a:cubicBezTo>
                  <a:cubicBezTo>
                    <a:pt x="249" y="0"/>
                    <a:pt x="191" y="6"/>
                    <a:pt x="139" y="36"/>
                  </a:cubicBezTo>
                  <a:cubicBezTo>
                    <a:pt x="36" y="96"/>
                    <a:pt x="0" y="228"/>
                    <a:pt x="60" y="331"/>
                  </a:cubicBezTo>
                  <a:cubicBezTo>
                    <a:pt x="120" y="433"/>
                    <a:pt x="252" y="469"/>
                    <a:pt x="355" y="409"/>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9" name="Freeform 71">
              <a:extLst>
                <a:ext uri="{FF2B5EF4-FFF2-40B4-BE49-F238E27FC236}">
                  <a16:creationId xmlns:a16="http://schemas.microsoft.com/office/drawing/2014/main" id="{738A0324-A6C6-1B43-9917-64F7C9AB66C5}"/>
                </a:ext>
              </a:extLst>
            </p:cNvPr>
            <p:cNvSpPr>
              <a:spLocks noChangeArrowheads="1"/>
            </p:cNvSpPr>
            <p:nvPr/>
          </p:nvSpPr>
          <p:spPr bwMode="auto">
            <a:xfrm>
              <a:off x="4231010" y="3673475"/>
              <a:ext cx="163513" cy="155575"/>
            </a:xfrm>
            <a:custGeom>
              <a:avLst/>
              <a:gdLst>
                <a:gd name="T0" fmla="*/ 63 w 456"/>
                <a:gd name="T1" fmla="*/ 177 h 433"/>
                <a:gd name="T2" fmla="*/ 133 w 456"/>
                <a:gd name="T3" fmla="*/ 86 h 433"/>
                <a:gd name="T4" fmla="*/ 208 w 456"/>
                <a:gd name="T5" fmla="*/ 66 h 433"/>
                <a:gd name="T6" fmla="*/ 208 w 456"/>
                <a:gd name="T7" fmla="*/ 66 h 433"/>
                <a:gd name="T8" fmla="*/ 339 w 456"/>
                <a:gd name="T9" fmla="*/ 141 h 433"/>
                <a:gd name="T10" fmla="*/ 284 w 456"/>
                <a:gd name="T11" fmla="*/ 347 h 433"/>
                <a:gd name="T12" fmla="*/ 209 w 456"/>
                <a:gd name="T13" fmla="*/ 367 h 433"/>
                <a:gd name="T14" fmla="*/ 160 w 456"/>
                <a:gd name="T15" fmla="*/ 359 h 433"/>
                <a:gd name="T16" fmla="*/ 152 w 456"/>
                <a:gd name="T17" fmla="*/ 425 h 433"/>
                <a:gd name="T18" fmla="*/ 209 w 456"/>
                <a:gd name="T19" fmla="*/ 432 h 433"/>
                <a:gd name="T20" fmla="*/ 316 w 456"/>
                <a:gd name="T21" fmla="*/ 403 h 433"/>
                <a:gd name="T22" fmla="*/ 395 w 456"/>
                <a:gd name="T23" fmla="*/ 108 h 433"/>
                <a:gd name="T24" fmla="*/ 208 w 456"/>
                <a:gd name="T25" fmla="*/ 0 h 433"/>
                <a:gd name="T26" fmla="*/ 100 w 456"/>
                <a:gd name="T27" fmla="*/ 29 h 433"/>
                <a:gd name="T28" fmla="*/ 0 w 456"/>
                <a:gd name="T29" fmla="*/ 160 h 433"/>
                <a:gd name="T30" fmla="*/ 61 w 456"/>
                <a:gd name="T31" fmla="*/ 187 h 433"/>
                <a:gd name="T32" fmla="*/ 63 w 456"/>
                <a:gd name="T33" fmla="*/ 177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6" h="433">
                  <a:moveTo>
                    <a:pt x="63" y="177"/>
                  </a:moveTo>
                  <a:cubicBezTo>
                    <a:pt x="73" y="139"/>
                    <a:pt x="98" y="106"/>
                    <a:pt x="133" y="86"/>
                  </a:cubicBezTo>
                  <a:cubicBezTo>
                    <a:pt x="156" y="73"/>
                    <a:pt x="182" y="66"/>
                    <a:pt x="208" y="66"/>
                  </a:cubicBezTo>
                  <a:lnTo>
                    <a:pt x="208" y="66"/>
                  </a:lnTo>
                  <a:cubicBezTo>
                    <a:pt x="262" y="66"/>
                    <a:pt x="312" y="95"/>
                    <a:pt x="339" y="141"/>
                  </a:cubicBezTo>
                  <a:cubicBezTo>
                    <a:pt x="380" y="213"/>
                    <a:pt x="356" y="305"/>
                    <a:pt x="284" y="347"/>
                  </a:cubicBezTo>
                  <a:cubicBezTo>
                    <a:pt x="261" y="360"/>
                    <a:pt x="235" y="367"/>
                    <a:pt x="209" y="367"/>
                  </a:cubicBezTo>
                  <a:cubicBezTo>
                    <a:pt x="192" y="367"/>
                    <a:pt x="175" y="364"/>
                    <a:pt x="160" y="359"/>
                  </a:cubicBezTo>
                  <a:cubicBezTo>
                    <a:pt x="161" y="381"/>
                    <a:pt x="158" y="403"/>
                    <a:pt x="152" y="425"/>
                  </a:cubicBezTo>
                  <a:cubicBezTo>
                    <a:pt x="171" y="430"/>
                    <a:pt x="190" y="432"/>
                    <a:pt x="209" y="432"/>
                  </a:cubicBezTo>
                  <a:cubicBezTo>
                    <a:pt x="245" y="432"/>
                    <a:pt x="282" y="423"/>
                    <a:pt x="316" y="403"/>
                  </a:cubicBezTo>
                  <a:cubicBezTo>
                    <a:pt x="420" y="344"/>
                    <a:pt x="455" y="212"/>
                    <a:pt x="395" y="108"/>
                  </a:cubicBezTo>
                  <a:cubicBezTo>
                    <a:pt x="355" y="39"/>
                    <a:pt x="283" y="0"/>
                    <a:pt x="208" y="0"/>
                  </a:cubicBezTo>
                  <a:cubicBezTo>
                    <a:pt x="172" y="0"/>
                    <a:pt x="134" y="10"/>
                    <a:pt x="100" y="29"/>
                  </a:cubicBezTo>
                  <a:cubicBezTo>
                    <a:pt x="49" y="59"/>
                    <a:pt x="14" y="107"/>
                    <a:pt x="0" y="160"/>
                  </a:cubicBezTo>
                  <a:cubicBezTo>
                    <a:pt x="21" y="166"/>
                    <a:pt x="42" y="175"/>
                    <a:pt x="61" y="187"/>
                  </a:cubicBezTo>
                  <a:cubicBezTo>
                    <a:pt x="61" y="184"/>
                    <a:pt x="62" y="181"/>
                    <a:pt x="63" y="177"/>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0" name="Freeform 72">
              <a:extLst>
                <a:ext uri="{FF2B5EF4-FFF2-40B4-BE49-F238E27FC236}">
                  <a16:creationId xmlns:a16="http://schemas.microsoft.com/office/drawing/2014/main" id="{31332BA6-071A-554B-B44C-FEAD04F70ED8}"/>
                </a:ext>
              </a:extLst>
            </p:cNvPr>
            <p:cNvSpPr>
              <a:spLocks noChangeArrowheads="1"/>
            </p:cNvSpPr>
            <p:nvPr/>
          </p:nvSpPr>
          <p:spPr bwMode="auto">
            <a:xfrm>
              <a:off x="4225925" y="3730625"/>
              <a:ext cx="63500" cy="95250"/>
            </a:xfrm>
            <a:custGeom>
              <a:avLst/>
              <a:gdLst>
                <a:gd name="T0" fmla="*/ 36 w 177"/>
                <a:gd name="T1" fmla="*/ 164 h 266"/>
                <a:gd name="T2" fmla="*/ 167 w 177"/>
                <a:gd name="T3" fmla="*/ 265 h 266"/>
                <a:gd name="T4" fmla="*/ 175 w 177"/>
                <a:gd name="T5" fmla="*/ 199 h 266"/>
                <a:gd name="T6" fmla="*/ 93 w 177"/>
                <a:gd name="T7" fmla="*/ 132 h 266"/>
                <a:gd name="T8" fmla="*/ 76 w 177"/>
                <a:gd name="T9" fmla="*/ 27 h 266"/>
                <a:gd name="T10" fmla="*/ 15 w 177"/>
                <a:gd name="T11" fmla="*/ 0 h 266"/>
                <a:gd name="T12" fmla="*/ 36 w 177"/>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7" h="266">
                  <a:moveTo>
                    <a:pt x="36" y="164"/>
                  </a:moveTo>
                  <a:cubicBezTo>
                    <a:pt x="66" y="216"/>
                    <a:pt x="114" y="251"/>
                    <a:pt x="167" y="265"/>
                  </a:cubicBezTo>
                  <a:cubicBezTo>
                    <a:pt x="173" y="243"/>
                    <a:pt x="176" y="221"/>
                    <a:pt x="175" y="199"/>
                  </a:cubicBezTo>
                  <a:cubicBezTo>
                    <a:pt x="141" y="187"/>
                    <a:pt x="111" y="163"/>
                    <a:pt x="93" y="132"/>
                  </a:cubicBezTo>
                  <a:cubicBezTo>
                    <a:pt x="75" y="100"/>
                    <a:pt x="69" y="63"/>
                    <a:pt x="76" y="27"/>
                  </a:cubicBezTo>
                  <a:cubicBezTo>
                    <a:pt x="57" y="15"/>
                    <a:pt x="36" y="6"/>
                    <a:pt x="15" y="0"/>
                  </a:cubicBezTo>
                  <a:cubicBezTo>
                    <a:pt x="0" y="54"/>
                    <a:pt x="7" y="113"/>
                    <a:pt x="36" y="164"/>
                  </a:cubicBezTo>
                </a:path>
              </a:pathLst>
            </a:custGeom>
            <a:solidFill>
              <a:srgbClr val="0099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1" name="Freeform 73">
              <a:extLst>
                <a:ext uri="{FF2B5EF4-FFF2-40B4-BE49-F238E27FC236}">
                  <a16:creationId xmlns:a16="http://schemas.microsoft.com/office/drawing/2014/main" id="{C4C8D44F-1993-C743-839D-FD300D043699}"/>
                </a:ext>
              </a:extLst>
            </p:cNvPr>
            <p:cNvSpPr>
              <a:spLocks noChangeArrowheads="1"/>
            </p:cNvSpPr>
            <p:nvPr/>
          </p:nvSpPr>
          <p:spPr bwMode="auto">
            <a:xfrm>
              <a:off x="4225925" y="3730625"/>
              <a:ext cx="63500" cy="95250"/>
            </a:xfrm>
            <a:custGeom>
              <a:avLst/>
              <a:gdLst>
                <a:gd name="T0" fmla="*/ 36 w 177"/>
                <a:gd name="T1" fmla="*/ 164 h 266"/>
                <a:gd name="T2" fmla="*/ 167 w 177"/>
                <a:gd name="T3" fmla="*/ 265 h 266"/>
                <a:gd name="T4" fmla="*/ 175 w 177"/>
                <a:gd name="T5" fmla="*/ 199 h 266"/>
                <a:gd name="T6" fmla="*/ 93 w 177"/>
                <a:gd name="T7" fmla="*/ 132 h 266"/>
                <a:gd name="T8" fmla="*/ 76 w 177"/>
                <a:gd name="T9" fmla="*/ 27 h 266"/>
                <a:gd name="T10" fmla="*/ 15 w 177"/>
                <a:gd name="T11" fmla="*/ 0 h 266"/>
                <a:gd name="T12" fmla="*/ 36 w 177"/>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7" h="266">
                  <a:moveTo>
                    <a:pt x="36" y="164"/>
                  </a:moveTo>
                  <a:cubicBezTo>
                    <a:pt x="66" y="216"/>
                    <a:pt x="114" y="251"/>
                    <a:pt x="167" y="265"/>
                  </a:cubicBezTo>
                  <a:cubicBezTo>
                    <a:pt x="173" y="243"/>
                    <a:pt x="176" y="221"/>
                    <a:pt x="175" y="199"/>
                  </a:cubicBezTo>
                  <a:cubicBezTo>
                    <a:pt x="141" y="187"/>
                    <a:pt x="111" y="163"/>
                    <a:pt x="93" y="132"/>
                  </a:cubicBezTo>
                  <a:cubicBezTo>
                    <a:pt x="75" y="100"/>
                    <a:pt x="69" y="63"/>
                    <a:pt x="76" y="27"/>
                  </a:cubicBezTo>
                  <a:cubicBezTo>
                    <a:pt x="57" y="15"/>
                    <a:pt x="36" y="6"/>
                    <a:pt x="15" y="0"/>
                  </a:cubicBezTo>
                  <a:cubicBezTo>
                    <a:pt x="0" y="54"/>
                    <a:pt x="7" y="113"/>
                    <a:pt x="36" y="164"/>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2" name="Freeform 74">
              <a:extLst>
                <a:ext uri="{FF2B5EF4-FFF2-40B4-BE49-F238E27FC236}">
                  <a16:creationId xmlns:a16="http://schemas.microsoft.com/office/drawing/2014/main" id="{A4CE225D-8D28-8441-91D9-36E242271D5F}"/>
                </a:ext>
              </a:extLst>
            </p:cNvPr>
            <p:cNvSpPr>
              <a:spLocks noChangeArrowheads="1"/>
            </p:cNvSpPr>
            <p:nvPr/>
          </p:nvSpPr>
          <p:spPr bwMode="auto">
            <a:xfrm>
              <a:off x="3452813" y="3937000"/>
              <a:ext cx="466725" cy="217488"/>
            </a:xfrm>
            <a:custGeom>
              <a:avLst/>
              <a:gdLst>
                <a:gd name="T0" fmla="*/ 1237 w 1298"/>
                <a:gd name="T1" fmla="*/ 139 h 605"/>
                <a:gd name="T2" fmla="*/ 942 w 1298"/>
                <a:gd name="T3" fmla="*/ 60 h 605"/>
                <a:gd name="T4" fmla="*/ 0 w 1298"/>
                <a:gd name="T5" fmla="*/ 604 h 605"/>
                <a:gd name="T6" fmla="*/ 864 w 1298"/>
                <a:gd name="T7" fmla="*/ 604 h 605"/>
                <a:gd name="T8" fmla="*/ 1158 w 1298"/>
                <a:gd name="T9" fmla="*/ 434 h 605"/>
                <a:gd name="T10" fmla="*/ 1237 w 1298"/>
                <a:gd name="T11" fmla="*/ 139 h 605"/>
              </a:gdLst>
              <a:ahLst/>
              <a:cxnLst>
                <a:cxn ang="0">
                  <a:pos x="T0" y="T1"/>
                </a:cxn>
                <a:cxn ang="0">
                  <a:pos x="T2" y="T3"/>
                </a:cxn>
                <a:cxn ang="0">
                  <a:pos x="T4" y="T5"/>
                </a:cxn>
                <a:cxn ang="0">
                  <a:pos x="T6" y="T7"/>
                </a:cxn>
                <a:cxn ang="0">
                  <a:pos x="T8" y="T9"/>
                </a:cxn>
                <a:cxn ang="0">
                  <a:pos x="T10" y="T11"/>
                </a:cxn>
              </a:cxnLst>
              <a:rect l="0" t="0" r="r" b="b"/>
              <a:pathLst>
                <a:path w="1298" h="605">
                  <a:moveTo>
                    <a:pt x="1237" y="139"/>
                  </a:moveTo>
                  <a:cubicBezTo>
                    <a:pt x="1177" y="36"/>
                    <a:pt x="1045" y="0"/>
                    <a:pt x="942" y="60"/>
                  </a:cubicBezTo>
                  <a:lnTo>
                    <a:pt x="0" y="604"/>
                  </a:lnTo>
                  <a:lnTo>
                    <a:pt x="864" y="604"/>
                  </a:lnTo>
                  <a:lnTo>
                    <a:pt x="1158" y="434"/>
                  </a:lnTo>
                  <a:cubicBezTo>
                    <a:pt x="1261" y="374"/>
                    <a:pt x="1297" y="242"/>
                    <a:pt x="1237" y="139"/>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75">
              <a:extLst>
                <a:ext uri="{FF2B5EF4-FFF2-40B4-BE49-F238E27FC236}">
                  <a16:creationId xmlns:a16="http://schemas.microsoft.com/office/drawing/2014/main" id="{2830320B-96EB-4446-B546-AF8987127C9B}"/>
                </a:ext>
              </a:extLst>
            </p:cNvPr>
            <p:cNvSpPr>
              <a:spLocks noChangeArrowheads="1"/>
            </p:cNvSpPr>
            <p:nvPr/>
          </p:nvSpPr>
          <p:spPr bwMode="auto">
            <a:xfrm>
              <a:off x="4241800" y="3849688"/>
              <a:ext cx="179388" cy="227012"/>
            </a:xfrm>
            <a:custGeom>
              <a:avLst/>
              <a:gdLst>
                <a:gd name="T0" fmla="*/ 15 w 499"/>
                <a:gd name="T1" fmla="*/ 352 h 632"/>
                <a:gd name="T2" fmla="*/ 36 w 499"/>
                <a:gd name="T3" fmla="*/ 516 h 632"/>
                <a:gd name="T4" fmla="*/ 167 w 499"/>
                <a:gd name="T5" fmla="*/ 617 h 632"/>
                <a:gd name="T6" fmla="*/ 331 w 499"/>
                <a:gd name="T7" fmla="*/ 595 h 632"/>
                <a:gd name="T8" fmla="*/ 498 w 499"/>
                <a:gd name="T9" fmla="*/ 499 h 632"/>
                <a:gd name="T10" fmla="*/ 498 w 499"/>
                <a:gd name="T11" fmla="*/ 0 h 632"/>
                <a:gd name="T12" fmla="*/ 115 w 499"/>
                <a:gd name="T13" fmla="*/ 221 h 632"/>
                <a:gd name="T14" fmla="*/ 15 w 499"/>
                <a:gd name="T15" fmla="*/ 352 h 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9" h="632">
                  <a:moveTo>
                    <a:pt x="15" y="352"/>
                  </a:moveTo>
                  <a:cubicBezTo>
                    <a:pt x="0" y="405"/>
                    <a:pt x="6" y="464"/>
                    <a:pt x="36" y="516"/>
                  </a:cubicBezTo>
                  <a:cubicBezTo>
                    <a:pt x="66" y="568"/>
                    <a:pt x="114" y="602"/>
                    <a:pt x="167" y="617"/>
                  </a:cubicBezTo>
                  <a:cubicBezTo>
                    <a:pt x="221" y="631"/>
                    <a:pt x="280" y="625"/>
                    <a:pt x="331" y="595"/>
                  </a:cubicBezTo>
                  <a:lnTo>
                    <a:pt x="498" y="499"/>
                  </a:lnTo>
                  <a:lnTo>
                    <a:pt x="498" y="0"/>
                  </a:lnTo>
                  <a:lnTo>
                    <a:pt x="115" y="221"/>
                  </a:lnTo>
                  <a:cubicBezTo>
                    <a:pt x="64" y="251"/>
                    <a:pt x="29" y="299"/>
                    <a:pt x="15" y="352"/>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4" name="Freeform 76">
              <a:extLst>
                <a:ext uri="{FF2B5EF4-FFF2-40B4-BE49-F238E27FC236}">
                  <a16:creationId xmlns:a16="http://schemas.microsoft.com/office/drawing/2014/main" id="{75508F2C-0C3E-C341-8F62-D2BC27EFD729}"/>
                </a:ext>
              </a:extLst>
            </p:cNvPr>
            <p:cNvSpPr>
              <a:spLocks noChangeArrowheads="1"/>
            </p:cNvSpPr>
            <p:nvPr/>
          </p:nvSpPr>
          <p:spPr bwMode="auto">
            <a:xfrm>
              <a:off x="3770313" y="3576638"/>
              <a:ext cx="336550" cy="144462"/>
            </a:xfrm>
            <a:custGeom>
              <a:avLst/>
              <a:gdLst>
                <a:gd name="T0" fmla="*/ 50 w 934"/>
                <a:gd name="T1" fmla="*/ 260 h 400"/>
                <a:gd name="T2" fmla="*/ 345 w 934"/>
                <a:gd name="T3" fmla="*/ 339 h 400"/>
                <a:gd name="T4" fmla="*/ 933 w 934"/>
                <a:gd name="T5" fmla="*/ 0 h 400"/>
                <a:gd name="T6" fmla="*/ 84 w 934"/>
                <a:gd name="T7" fmla="*/ 0 h 400"/>
                <a:gd name="T8" fmla="*/ 50 w 934"/>
                <a:gd name="T9" fmla="*/ 260 h 400"/>
              </a:gdLst>
              <a:ahLst/>
              <a:cxnLst>
                <a:cxn ang="0">
                  <a:pos x="T0" y="T1"/>
                </a:cxn>
                <a:cxn ang="0">
                  <a:pos x="T2" y="T3"/>
                </a:cxn>
                <a:cxn ang="0">
                  <a:pos x="T4" y="T5"/>
                </a:cxn>
                <a:cxn ang="0">
                  <a:pos x="T6" y="T7"/>
                </a:cxn>
                <a:cxn ang="0">
                  <a:pos x="T8" y="T9"/>
                </a:cxn>
              </a:cxnLst>
              <a:rect l="0" t="0" r="r" b="b"/>
              <a:pathLst>
                <a:path w="934" h="400">
                  <a:moveTo>
                    <a:pt x="50" y="260"/>
                  </a:moveTo>
                  <a:cubicBezTo>
                    <a:pt x="110" y="363"/>
                    <a:pt x="242" y="399"/>
                    <a:pt x="345" y="339"/>
                  </a:cubicBezTo>
                  <a:lnTo>
                    <a:pt x="933" y="0"/>
                  </a:lnTo>
                  <a:lnTo>
                    <a:pt x="84" y="0"/>
                  </a:lnTo>
                  <a:cubicBezTo>
                    <a:pt x="17" y="67"/>
                    <a:pt x="0" y="174"/>
                    <a:pt x="50" y="260"/>
                  </a:cubicBezTo>
                </a:path>
              </a:pathLst>
            </a:custGeom>
            <a:solidFill>
              <a:schemeClr val="accent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8873572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1_Divider v2">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75600" y="2286000"/>
            <a:ext cx="7970400" cy="1037896"/>
          </a:xfrm>
        </p:spPr>
        <p:txBody>
          <a:bodyPr/>
          <a:lstStyle>
            <a:lvl1pPr algn="l">
              <a:lnSpc>
                <a:spcPts val="6630"/>
              </a:lnSpc>
              <a:defRPr sz="6630"/>
            </a:lvl1pPr>
          </a:lstStyle>
          <a:p>
            <a:r>
              <a:rPr lang="en-US" noProof="0" dirty="0"/>
              <a:t>Click to edit </a:t>
            </a:r>
            <a:endParaRPr lang="en-GB" noProof="0" dirty="0"/>
          </a:p>
        </p:txBody>
      </p:sp>
      <p:sp>
        <p:nvSpPr>
          <p:cNvPr id="3" name="Subtitle 2"/>
          <p:cNvSpPr>
            <a:spLocks noGrp="1"/>
          </p:cNvSpPr>
          <p:nvPr>
            <p:ph type="subTitle" idx="1"/>
          </p:nvPr>
        </p:nvSpPr>
        <p:spPr>
          <a:xfrm>
            <a:off x="1886400" y="3323896"/>
            <a:ext cx="7970400" cy="1090761"/>
          </a:xfrm>
        </p:spPr>
        <p:txBody>
          <a:bodyPr/>
          <a:lstStyle>
            <a:lvl1pPr marL="0" indent="0" algn="l">
              <a:lnSpc>
                <a:spcPts val="1940"/>
              </a:lnSpc>
              <a:spcAft>
                <a:spcPts val="0"/>
              </a:spcAft>
              <a:buNone/>
              <a:defRPr sz="159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grpSp>
        <p:nvGrpSpPr>
          <p:cNvPr id="37" name="Group 36">
            <a:extLst>
              <a:ext uri="{FF2B5EF4-FFF2-40B4-BE49-F238E27FC236}">
                <a16:creationId xmlns:a16="http://schemas.microsoft.com/office/drawing/2014/main" id="{A48072AE-3873-C248-B182-6487D4A0FB73}"/>
              </a:ext>
            </a:extLst>
          </p:cNvPr>
          <p:cNvGrpSpPr/>
          <p:nvPr userDrawn="1"/>
        </p:nvGrpSpPr>
        <p:grpSpPr>
          <a:xfrm>
            <a:off x="0" y="9408"/>
            <a:ext cx="12192000" cy="6848592"/>
            <a:chOff x="3392488" y="3576638"/>
            <a:chExt cx="1028700" cy="577850"/>
          </a:xfrm>
        </p:grpSpPr>
        <p:sp>
          <p:nvSpPr>
            <p:cNvPr id="38" name="Freeform 67">
              <a:extLst>
                <a:ext uri="{FF2B5EF4-FFF2-40B4-BE49-F238E27FC236}">
                  <a16:creationId xmlns:a16="http://schemas.microsoft.com/office/drawing/2014/main" id="{228F4250-EFA1-DE40-AD83-F1098418FE00}"/>
                </a:ext>
              </a:extLst>
            </p:cNvPr>
            <p:cNvSpPr>
              <a:spLocks noChangeArrowheads="1"/>
            </p:cNvSpPr>
            <p:nvPr/>
          </p:nvSpPr>
          <p:spPr bwMode="auto">
            <a:xfrm>
              <a:off x="3392488" y="3829050"/>
              <a:ext cx="77787" cy="153988"/>
            </a:xfrm>
            <a:custGeom>
              <a:avLst/>
              <a:gdLst>
                <a:gd name="T0" fmla="*/ 155 w 215"/>
                <a:gd name="T1" fmla="*/ 105 h 427"/>
                <a:gd name="T2" fmla="*/ 0 w 215"/>
                <a:gd name="T3" fmla="*/ 0 h 427"/>
                <a:gd name="T4" fmla="*/ 0 w 215"/>
                <a:gd name="T5" fmla="*/ 66 h 427"/>
                <a:gd name="T6" fmla="*/ 98 w 215"/>
                <a:gd name="T7" fmla="*/ 137 h 427"/>
                <a:gd name="T8" fmla="*/ 43 w 215"/>
                <a:gd name="T9" fmla="*/ 343 h 427"/>
                <a:gd name="T10" fmla="*/ 0 w 215"/>
                <a:gd name="T11" fmla="*/ 359 h 427"/>
                <a:gd name="T12" fmla="*/ 0 w 215"/>
                <a:gd name="T13" fmla="*/ 426 h 427"/>
                <a:gd name="T14" fmla="*/ 76 w 215"/>
                <a:gd name="T15" fmla="*/ 400 h 427"/>
                <a:gd name="T16" fmla="*/ 155 w 215"/>
                <a:gd name="T17" fmla="*/ 105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427">
                  <a:moveTo>
                    <a:pt x="155" y="105"/>
                  </a:moveTo>
                  <a:cubicBezTo>
                    <a:pt x="121" y="47"/>
                    <a:pt x="63" y="10"/>
                    <a:pt x="0" y="0"/>
                  </a:cubicBezTo>
                  <a:lnTo>
                    <a:pt x="0" y="66"/>
                  </a:lnTo>
                  <a:cubicBezTo>
                    <a:pt x="41" y="75"/>
                    <a:pt x="77" y="100"/>
                    <a:pt x="98" y="137"/>
                  </a:cubicBezTo>
                  <a:cubicBezTo>
                    <a:pt x="140" y="209"/>
                    <a:pt x="115" y="301"/>
                    <a:pt x="43" y="343"/>
                  </a:cubicBezTo>
                  <a:cubicBezTo>
                    <a:pt x="30" y="351"/>
                    <a:pt x="15" y="356"/>
                    <a:pt x="0" y="359"/>
                  </a:cubicBezTo>
                  <a:lnTo>
                    <a:pt x="0" y="426"/>
                  </a:lnTo>
                  <a:cubicBezTo>
                    <a:pt x="26" y="422"/>
                    <a:pt x="52" y="413"/>
                    <a:pt x="76" y="400"/>
                  </a:cubicBezTo>
                  <a:cubicBezTo>
                    <a:pt x="179" y="340"/>
                    <a:pt x="214" y="208"/>
                    <a:pt x="155" y="105"/>
                  </a:cubicBezTo>
                </a:path>
              </a:pathLst>
            </a:custGeom>
            <a:solidFill>
              <a:schemeClr val="accent4">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39" name="Freeform 68">
              <a:extLst>
                <a:ext uri="{FF2B5EF4-FFF2-40B4-BE49-F238E27FC236}">
                  <a16:creationId xmlns:a16="http://schemas.microsoft.com/office/drawing/2014/main" id="{29E068A6-8116-A642-B781-6BB6201D54A2}"/>
                </a:ext>
              </a:extLst>
            </p:cNvPr>
            <p:cNvSpPr>
              <a:spLocks noChangeArrowheads="1"/>
            </p:cNvSpPr>
            <p:nvPr/>
          </p:nvSpPr>
          <p:spPr bwMode="auto">
            <a:xfrm>
              <a:off x="4139362" y="3971146"/>
              <a:ext cx="163513" cy="169863"/>
            </a:xfrm>
            <a:custGeom>
              <a:avLst/>
              <a:gdLst>
                <a:gd name="T0" fmla="*/ 324 w 456"/>
                <a:gd name="T1" fmla="*/ 178 h 470"/>
                <a:gd name="T2" fmla="*/ 303 w 456"/>
                <a:gd name="T3" fmla="*/ 14 h 470"/>
                <a:gd name="T4" fmla="*/ 139 w 456"/>
                <a:gd name="T5" fmla="*/ 36 h 470"/>
                <a:gd name="T6" fmla="*/ 60 w 456"/>
                <a:gd name="T7" fmla="*/ 331 h 470"/>
                <a:gd name="T8" fmla="*/ 355 w 456"/>
                <a:gd name="T9" fmla="*/ 410 h 470"/>
                <a:gd name="T10" fmla="*/ 455 w 456"/>
                <a:gd name="T11" fmla="*/ 279 h 470"/>
                <a:gd name="T12" fmla="*/ 324 w 456"/>
                <a:gd name="T13" fmla="*/ 178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24" y="178"/>
                  </a:moveTo>
                  <a:cubicBezTo>
                    <a:pt x="294" y="126"/>
                    <a:pt x="288" y="67"/>
                    <a:pt x="303" y="14"/>
                  </a:cubicBezTo>
                  <a:cubicBezTo>
                    <a:pt x="249" y="0"/>
                    <a:pt x="190" y="6"/>
                    <a:pt x="139" y="36"/>
                  </a:cubicBezTo>
                  <a:cubicBezTo>
                    <a:pt x="36" y="95"/>
                    <a:pt x="0" y="227"/>
                    <a:pt x="60" y="331"/>
                  </a:cubicBezTo>
                  <a:cubicBezTo>
                    <a:pt x="119" y="434"/>
                    <a:pt x="252" y="469"/>
                    <a:pt x="355" y="410"/>
                  </a:cubicBezTo>
                  <a:cubicBezTo>
                    <a:pt x="406" y="380"/>
                    <a:pt x="441" y="332"/>
                    <a:pt x="455" y="279"/>
                  </a:cubicBezTo>
                  <a:cubicBezTo>
                    <a:pt x="402" y="264"/>
                    <a:pt x="354" y="230"/>
                    <a:pt x="324" y="178"/>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40" name="Freeform 69">
              <a:extLst>
                <a:ext uri="{FF2B5EF4-FFF2-40B4-BE49-F238E27FC236}">
                  <a16:creationId xmlns:a16="http://schemas.microsoft.com/office/drawing/2014/main" id="{A6ACCE97-52E5-5B42-9C53-F1CD47E3C084}"/>
                </a:ext>
              </a:extLst>
            </p:cNvPr>
            <p:cNvSpPr>
              <a:spLocks noChangeArrowheads="1"/>
            </p:cNvSpPr>
            <p:nvPr/>
          </p:nvSpPr>
          <p:spPr bwMode="auto">
            <a:xfrm>
              <a:off x="4250546" y="3740959"/>
              <a:ext cx="38100" cy="61912"/>
            </a:xfrm>
            <a:custGeom>
              <a:avLst/>
              <a:gdLst>
                <a:gd name="T0" fmla="*/ 7 w 107"/>
                <a:gd name="T1" fmla="*/ 0 h 173"/>
                <a:gd name="T2" fmla="*/ 24 w 107"/>
                <a:gd name="T3" fmla="*/ 105 h 173"/>
                <a:gd name="T4" fmla="*/ 106 w 107"/>
                <a:gd name="T5" fmla="*/ 172 h 173"/>
                <a:gd name="T6" fmla="*/ 77 w 107"/>
                <a:gd name="T7" fmla="*/ 74 h 173"/>
                <a:gd name="T8" fmla="*/ 7 w 107"/>
                <a:gd name="T9" fmla="*/ 0 h 173"/>
              </a:gdLst>
              <a:ahLst/>
              <a:cxnLst>
                <a:cxn ang="0">
                  <a:pos x="T0" y="T1"/>
                </a:cxn>
                <a:cxn ang="0">
                  <a:pos x="T2" y="T3"/>
                </a:cxn>
                <a:cxn ang="0">
                  <a:pos x="T4" y="T5"/>
                </a:cxn>
                <a:cxn ang="0">
                  <a:pos x="T6" y="T7"/>
                </a:cxn>
                <a:cxn ang="0">
                  <a:pos x="T8" y="T9"/>
                </a:cxn>
              </a:cxnLst>
              <a:rect l="0" t="0" r="r" b="b"/>
              <a:pathLst>
                <a:path w="107" h="173">
                  <a:moveTo>
                    <a:pt x="7" y="0"/>
                  </a:moveTo>
                  <a:cubicBezTo>
                    <a:pt x="0" y="36"/>
                    <a:pt x="6" y="73"/>
                    <a:pt x="24" y="105"/>
                  </a:cubicBezTo>
                  <a:cubicBezTo>
                    <a:pt x="42" y="136"/>
                    <a:pt x="72" y="160"/>
                    <a:pt x="106" y="172"/>
                  </a:cubicBezTo>
                  <a:cubicBezTo>
                    <a:pt x="104" y="138"/>
                    <a:pt x="95" y="105"/>
                    <a:pt x="77" y="74"/>
                  </a:cubicBezTo>
                  <a:cubicBezTo>
                    <a:pt x="59" y="43"/>
                    <a:pt x="35" y="18"/>
                    <a:pt x="7" y="0"/>
                  </a:cubicBezTo>
                </a:path>
              </a:pathLst>
            </a:custGeom>
            <a:solidFill>
              <a:schemeClr val="accent3">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41" name="Freeform 70">
              <a:extLst>
                <a:ext uri="{FF2B5EF4-FFF2-40B4-BE49-F238E27FC236}">
                  <a16:creationId xmlns:a16="http://schemas.microsoft.com/office/drawing/2014/main" id="{AE2F67F9-795A-0B4A-85BA-17C4A493CDBA}"/>
                </a:ext>
              </a:extLst>
            </p:cNvPr>
            <p:cNvSpPr>
              <a:spLocks noChangeArrowheads="1"/>
            </p:cNvSpPr>
            <p:nvPr/>
          </p:nvSpPr>
          <p:spPr bwMode="auto">
            <a:xfrm>
              <a:off x="4124092" y="3724509"/>
              <a:ext cx="163512" cy="169862"/>
            </a:xfrm>
            <a:custGeom>
              <a:avLst/>
              <a:gdLst>
                <a:gd name="T0" fmla="*/ 355 w 456"/>
                <a:gd name="T1" fmla="*/ 409 h 470"/>
                <a:gd name="T2" fmla="*/ 455 w 456"/>
                <a:gd name="T3" fmla="*/ 279 h 470"/>
                <a:gd name="T4" fmla="*/ 324 w 456"/>
                <a:gd name="T5" fmla="*/ 178 h 470"/>
                <a:gd name="T6" fmla="*/ 303 w 456"/>
                <a:gd name="T7" fmla="*/ 14 h 470"/>
                <a:gd name="T8" fmla="*/ 139 w 456"/>
                <a:gd name="T9" fmla="*/ 36 h 470"/>
                <a:gd name="T10" fmla="*/ 60 w 456"/>
                <a:gd name="T11" fmla="*/ 331 h 470"/>
                <a:gd name="T12" fmla="*/ 355 w 456"/>
                <a:gd name="T13" fmla="*/ 409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55" y="409"/>
                  </a:moveTo>
                  <a:cubicBezTo>
                    <a:pt x="407" y="379"/>
                    <a:pt x="441" y="332"/>
                    <a:pt x="455" y="279"/>
                  </a:cubicBezTo>
                  <a:cubicBezTo>
                    <a:pt x="402" y="265"/>
                    <a:pt x="353" y="229"/>
                    <a:pt x="324" y="178"/>
                  </a:cubicBezTo>
                  <a:cubicBezTo>
                    <a:pt x="294" y="126"/>
                    <a:pt x="288" y="68"/>
                    <a:pt x="303" y="14"/>
                  </a:cubicBezTo>
                  <a:cubicBezTo>
                    <a:pt x="249" y="0"/>
                    <a:pt x="191" y="6"/>
                    <a:pt x="139" y="36"/>
                  </a:cubicBezTo>
                  <a:cubicBezTo>
                    <a:pt x="36" y="96"/>
                    <a:pt x="0" y="228"/>
                    <a:pt x="60" y="331"/>
                  </a:cubicBezTo>
                  <a:cubicBezTo>
                    <a:pt x="120" y="433"/>
                    <a:pt x="252" y="469"/>
                    <a:pt x="355" y="409"/>
                  </a:cubicBezTo>
                </a:path>
              </a:pathLst>
            </a:custGeom>
            <a:solidFill>
              <a:schemeClr val="accent3">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42" name="Freeform 71">
              <a:extLst>
                <a:ext uri="{FF2B5EF4-FFF2-40B4-BE49-F238E27FC236}">
                  <a16:creationId xmlns:a16="http://schemas.microsoft.com/office/drawing/2014/main" id="{02BFD9B3-F974-BB40-8EB4-52F6DF07C927}"/>
                </a:ext>
              </a:extLst>
            </p:cNvPr>
            <p:cNvSpPr>
              <a:spLocks noChangeArrowheads="1"/>
            </p:cNvSpPr>
            <p:nvPr/>
          </p:nvSpPr>
          <p:spPr bwMode="auto">
            <a:xfrm>
              <a:off x="4231010" y="3673475"/>
              <a:ext cx="163513" cy="155575"/>
            </a:xfrm>
            <a:custGeom>
              <a:avLst/>
              <a:gdLst>
                <a:gd name="T0" fmla="*/ 63 w 456"/>
                <a:gd name="T1" fmla="*/ 177 h 433"/>
                <a:gd name="T2" fmla="*/ 133 w 456"/>
                <a:gd name="T3" fmla="*/ 86 h 433"/>
                <a:gd name="T4" fmla="*/ 208 w 456"/>
                <a:gd name="T5" fmla="*/ 66 h 433"/>
                <a:gd name="T6" fmla="*/ 208 w 456"/>
                <a:gd name="T7" fmla="*/ 66 h 433"/>
                <a:gd name="T8" fmla="*/ 339 w 456"/>
                <a:gd name="T9" fmla="*/ 141 h 433"/>
                <a:gd name="T10" fmla="*/ 284 w 456"/>
                <a:gd name="T11" fmla="*/ 347 h 433"/>
                <a:gd name="T12" fmla="*/ 209 w 456"/>
                <a:gd name="T13" fmla="*/ 367 h 433"/>
                <a:gd name="T14" fmla="*/ 160 w 456"/>
                <a:gd name="T15" fmla="*/ 359 h 433"/>
                <a:gd name="T16" fmla="*/ 152 w 456"/>
                <a:gd name="T17" fmla="*/ 425 h 433"/>
                <a:gd name="T18" fmla="*/ 209 w 456"/>
                <a:gd name="T19" fmla="*/ 432 h 433"/>
                <a:gd name="T20" fmla="*/ 316 w 456"/>
                <a:gd name="T21" fmla="*/ 403 h 433"/>
                <a:gd name="T22" fmla="*/ 395 w 456"/>
                <a:gd name="T23" fmla="*/ 108 h 433"/>
                <a:gd name="T24" fmla="*/ 208 w 456"/>
                <a:gd name="T25" fmla="*/ 0 h 433"/>
                <a:gd name="T26" fmla="*/ 100 w 456"/>
                <a:gd name="T27" fmla="*/ 29 h 433"/>
                <a:gd name="T28" fmla="*/ 0 w 456"/>
                <a:gd name="T29" fmla="*/ 160 h 433"/>
                <a:gd name="T30" fmla="*/ 61 w 456"/>
                <a:gd name="T31" fmla="*/ 187 h 433"/>
                <a:gd name="T32" fmla="*/ 63 w 456"/>
                <a:gd name="T33" fmla="*/ 177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6" h="433">
                  <a:moveTo>
                    <a:pt x="63" y="177"/>
                  </a:moveTo>
                  <a:cubicBezTo>
                    <a:pt x="73" y="139"/>
                    <a:pt x="98" y="106"/>
                    <a:pt x="133" y="86"/>
                  </a:cubicBezTo>
                  <a:cubicBezTo>
                    <a:pt x="156" y="73"/>
                    <a:pt x="182" y="66"/>
                    <a:pt x="208" y="66"/>
                  </a:cubicBezTo>
                  <a:lnTo>
                    <a:pt x="208" y="66"/>
                  </a:lnTo>
                  <a:cubicBezTo>
                    <a:pt x="262" y="66"/>
                    <a:pt x="312" y="95"/>
                    <a:pt x="339" y="141"/>
                  </a:cubicBezTo>
                  <a:cubicBezTo>
                    <a:pt x="380" y="213"/>
                    <a:pt x="356" y="305"/>
                    <a:pt x="284" y="347"/>
                  </a:cubicBezTo>
                  <a:cubicBezTo>
                    <a:pt x="261" y="360"/>
                    <a:pt x="235" y="367"/>
                    <a:pt x="209" y="367"/>
                  </a:cubicBezTo>
                  <a:cubicBezTo>
                    <a:pt x="192" y="367"/>
                    <a:pt x="175" y="364"/>
                    <a:pt x="160" y="359"/>
                  </a:cubicBezTo>
                  <a:cubicBezTo>
                    <a:pt x="161" y="381"/>
                    <a:pt x="158" y="403"/>
                    <a:pt x="152" y="425"/>
                  </a:cubicBezTo>
                  <a:cubicBezTo>
                    <a:pt x="171" y="430"/>
                    <a:pt x="190" y="432"/>
                    <a:pt x="209" y="432"/>
                  </a:cubicBezTo>
                  <a:cubicBezTo>
                    <a:pt x="245" y="432"/>
                    <a:pt x="282" y="423"/>
                    <a:pt x="316" y="403"/>
                  </a:cubicBezTo>
                  <a:cubicBezTo>
                    <a:pt x="420" y="344"/>
                    <a:pt x="455" y="212"/>
                    <a:pt x="395" y="108"/>
                  </a:cubicBezTo>
                  <a:cubicBezTo>
                    <a:pt x="355" y="39"/>
                    <a:pt x="283" y="0"/>
                    <a:pt x="208" y="0"/>
                  </a:cubicBezTo>
                  <a:cubicBezTo>
                    <a:pt x="172" y="0"/>
                    <a:pt x="134" y="10"/>
                    <a:pt x="100" y="29"/>
                  </a:cubicBezTo>
                  <a:cubicBezTo>
                    <a:pt x="49" y="59"/>
                    <a:pt x="14" y="107"/>
                    <a:pt x="0" y="160"/>
                  </a:cubicBezTo>
                  <a:cubicBezTo>
                    <a:pt x="21" y="166"/>
                    <a:pt x="42" y="175"/>
                    <a:pt x="61" y="187"/>
                  </a:cubicBezTo>
                  <a:cubicBezTo>
                    <a:pt x="61" y="184"/>
                    <a:pt x="62" y="181"/>
                    <a:pt x="63" y="177"/>
                  </a:cubicBezTo>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43" name="Freeform 72">
              <a:extLst>
                <a:ext uri="{FF2B5EF4-FFF2-40B4-BE49-F238E27FC236}">
                  <a16:creationId xmlns:a16="http://schemas.microsoft.com/office/drawing/2014/main" id="{44183499-69C4-EB47-B292-BFE5CCE833D3}"/>
                </a:ext>
              </a:extLst>
            </p:cNvPr>
            <p:cNvSpPr>
              <a:spLocks noChangeArrowheads="1"/>
            </p:cNvSpPr>
            <p:nvPr/>
          </p:nvSpPr>
          <p:spPr bwMode="auto">
            <a:xfrm>
              <a:off x="4225925" y="3730625"/>
              <a:ext cx="63500" cy="95250"/>
            </a:xfrm>
            <a:custGeom>
              <a:avLst/>
              <a:gdLst>
                <a:gd name="T0" fmla="*/ 36 w 177"/>
                <a:gd name="T1" fmla="*/ 164 h 266"/>
                <a:gd name="T2" fmla="*/ 167 w 177"/>
                <a:gd name="T3" fmla="*/ 265 h 266"/>
                <a:gd name="T4" fmla="*/ 175 w 177"/>
                <a:gd name="T5" fmla="*/ 199 h 266"/>
                <a:gd name="T6" fmla="*/ 93 w 177"/>
                <a:gd name="T7" fmla="*/ 132 h 266"/>
                <a:gd name="T8" fmla="*/ 76 w 177"/>
                <a:gd name="T9" fmla="*/ 27 h 266"/>
                <a:gd name="T10" fmla="*/ 15 w 177"/>
                <a:gd name="T11" fmla="*/ 0 h 266"/>
                <a:gd name="T12" fmla="*/ 36 w 177"/>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7" h="266">
                  <a:moveTo>
                    <a:pt x="36" y="164"/>
                  </a:moveTo>
                  <a:cubicBezTo>
                    <a:pt x="66" y="216"/>
                    <a:pt x="114" y="251"/>
                    <a:pt x="167" y="265"/>
                  </a:cubicBezTo>
                  <a:cubicBezTo>
                    <a:pt x="173" y="243"/>
                    <a:pt x="176" y="221"/>
                    <a:pt x="175" y="199"/>
                  </a:cubicBezTo>
                  <a:cubicBezTo>
                    <a:pt x="141" y="187"/>
                    <a:pt x="111" y="163"/>
                    <a:pt x="93" y="132"/>
                  </a:cubicBezTo>
                  <a:cubicBezTo>
                    <a:pt x="75" y="100"/>
                    <a:pt x="69" y="63"/>
                    <a:pt x="76" y="27"/>
                  </a:cubicBezTo>
                  <a:cubicBezTo>
                    <a:pt x="57" y="15"/>
                    <a:pt x="36" y="6"/>
                    <a:pt x="15" y="0"/>
                  </a:cubicBezTo>
                  <a:cubicBezTo>
                    <a:pt x="0" y="54"/>
                    <a:pt x="7" y="113"/>
                    <a:pt x="36" y="164"/>
                  </a:cubicBezTo>
                </a:path>
              </a:pathLst>
            </a:custGeom>
            <a:solidFill>
              <a:srgbClr val="0099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44" name="Freeform 73">
              <a:extLst>
                <a:ext uri="{FF2B5EF4-FFF2-40B4-BE49-F238E27FC236}">
                  <a16:creationId xmlns:a16="http://schemas.microsoft.com/office/drawing/2014/main" id="{BC4813C1-0744-654C-92F6-A8E2879D6C4C}"/>
                </a:ext>
              </a:extLst>
            </p:cNvPr>
            <p:cNvSpPr>
              <a:spLocks noChangeArrowheads="1"/>
            </p:cNvSpPr>
            <p:nvPr/>
          </p:nvSpPr>
          <p:spPr bwMode="auto">
            <a:xfrm>
              <a:off x="4225925" y="3730625"/>
              <a:ext cx="63500" cy="95250"/>
            </a:xfrm>
            <a:custGeom>
              <a:avLst/>
              <a:gdLst>
                <a:gd name="T0" fmla="*/ 36 w 177"/>
                <a:gd name="T1" fmla="*/ 164 h 266"/>
                <a:gd name="T2" fmla="*/ 167 w 177"/>
                <a:gd name="T3" fmla="*/ 265 h 266"/>
                <a:gd name="T4" fmla="*/ 175 w 177"/>
                <a:gd name="T5" fmla="*/ 199 h 266"/>
                <a:gd name="T6" fmla="*/ 93 w 177"/>
                <a:gd name="T7" fmla="*/ 132 h 266"/>
                <a:gd name="T8" fmla="*/ 76 w 177"/>
                <a:gd name="T9" fmla="*/ 27 h 266"/>
                <a:gd name="T10" fmla="*/ 15 w 177"/>
                <a:gd name="T11" fmla="*/ 0 h 266"/>
                <a:gd name="T12" fmla="*/ 36 w 177"/>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7" h="266">
                  <a:moveTo>
                    <a:pt x="36" y="164"/>
                  </a:moveTo>
                  <a:cubicBezTo>
                    <a:pt x="66" y="216"/>
                    <a:pt x="114" y="251"/>
                    <a:pt x="167" y="265"/>
                  </a:cubicBezTo>
                  <a:cubicBezTo>
                    <a:pt x="173" y="243"/>
                    <a:pt x="176" y="221"/>
                    <a:pt x="175" y="199"/>
                  </a:cubicBezTo>
                  <a:cubicBezTo>
                    <a:pt x="141" y="187"/>
                    <a:pt x="111" y="163"/>
                    <a:pt x="93" y="132"/>
                  </a:cubicBezTo>
                  <a:cubicBezTo>
                    <a:pt x="75" y="100"/>
                    <a:pt x="69" y="63"/>
                    <a:pt x="76" y="27"/>
                  </a:cubicBezTo>
                  <a:cubicBezTo>
                    <a:pt x="57" y="15"/>
                    <a:pt x="36" y="6"/>
                    <a:pt x="15" y="0"/>
                  </a:cubicBezTo>
                  <a:cubicBezTo>
                    <a:pt x="0" y="54"/>
                    <a:pt x="7" y="113"/>
                    <a:pt x="36" y="164"/>
                  </a:cubicBezTo>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45" name="Freeform 74">
              <a:extLst>
                <a:ext uri="{FF2B5EF4-FFF2-40B4-BE49-F238E27FC236}">
                  <a16:creationId xmlns:a16="http://schemas.microsoft.com/office/drawing/2014/main" id="{3228AC9F-CBC6-F542-93A8-E16333EF9F32}"/>
                </a:ext>
              </a:extLst>
            </p:cNvPr>
            <p:cNvSpPr>
              <a:spLocks noChangeArrowheads="1"/>
            </p:cNvSpPr>
            <p:nvPr/>
          </p:nvSpPr>
          <p:spPr bwMode="auto">
            <a:xfrm>
              <a:off x="3452813" y="3937000"/>
              <a:ext cx="466725" cy="217488"/>
            </a:xfrm>
            <a:custGeom>
              <a:avLst/>
              <a:gdLst>
                <a:gd name="T0" fmla="*/ 1237 w 1298"/>
                <a:gd name="T1" fmla="*/ 139 h 605"/>
                <a:gd name="T2" fmla="*/ 942 w 1298"/>
                <a:gd name="T3" fmla="*/ 60 h 605"/>
                <a:gd name="T4" fmla="*/ 0 w 1298"/>
                <a:gd name="T5" fmla="*/ 604 h 605"/>
                <a:gd name="T6" fmla="*/ 864 w 1298"/>
                <a:gd name="T7" fmla="*/ 604 h 605"/>
                <a:gd name="T8" fmla="*/ 1158 w 1298"/>
                <a:gd name="T9" fmla="*/ 434 h 605"/>
                <a:gd name="T10" fmla="*/ 1237 w 1298"/>
                <a:gd name="T11" fmla="*/ 139 h 605"/>
              </a:gdLst>
              <a:ahLst/>
              <a:cxnLst>
                <a:cxn ang="0">
                  <a:pos x="T0" y="T1"/>
                </a:cxn>
                <a:cxn ang="0">
                  <a:pos x="T2" y="T3"/>
                </a:cxn>
                <a:cxn ang="0">
                  <a:pos x="T4" y="T5"/>
                </a:cxn>
                <a:cxn ang="0">
                  <a:pos x="T6" y="T7"/>
                </a:cxn>
                <a:cxn ang="0">
                  <a:pos x="T8" y="T9"/>
                </a:cxn>
                <a:cxn ang="0">
                  <a:pos x="T10" y="T11"/>
                </a:cxn>
              </a:cxnLst>
              <a:rect l="0" t="0" r="r" b="b"/>
              <a:pathLst>
                <a:path w="1298" h="605">
                  <a:moveTo>
                    <a:pt x="1237" y="139"/>
                  </a:moveTo>
                  <a:cubicBezTo>
                    <a:pt x="1177" y="36"/>
                    <a:pt x="1045" y="0"/>
                    <a:pt x="942" y="60"/>
                  </a:cubicBezTo>
                  <a:lnTo>
                    <a:pt x="0" y="604"/>
                  </a:lnTo>
                  <a:lnTo>
                    <a:pt x="864" y="604"/>
                  </a:lnTo>
                  <a:lnTo>
                    <a:pt x="1158" y="434"/>
                  </a:lnTo>
                  <a:cubicBezTo>
                    <a:pt x="1261" y="374"/>
                    <a:pt x="1297" y="242"/>
                    <a:pt x="1237" y="139"/>
                  </a:cubicBezTo>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46" name="Freeform 75">
              <a:extLst>
                <a:ext uri="{FF2B5EF4-FFF2-40B4-BE49-F238E27FC236}">
                  <a16:creationId xmlns:a16="http://schemas.microsoft.com/office/drawing/2014/main" id="{4939AE40-5E85-4945-B07E-4BB2678BCF42}"/>
                </a:ext>
              </a:extLst>
            </p:cNvPr>
            <p:cNvSpPr>
              <a:spLocks noChangeArrowheads="1"/>
            </p:cNvSpPr>
            <p:nvPr/>
          </p:nvSpPr>
          <p:spPr bwMode="auto">
            <a:xfrm>
              <a:off x="4241800" y="3849688"/>
              <a:ext cx="179388" cy="227012"/>
            </a:xfrm>
            <a:custGeom>
              <a:avLst/>
              <a:gdLst>
                <a:gd name="T0" fmla="*/ 15 w 499"/>
                <a:gd name="T1" fmla="*/ 352 h 632"/>
                <a:gd name="T2" fmla="*/ 36 w 499"/>
                <a:gd name="T3" fmla="*/ 516 h 632"/>
                <a:gd name="T4" fmla="*/ 167 w 499"/>
                <a:gd name="T5" fmla="*/ 617 h 632"/>
                <a:gd name="T6" fmla="*/ 331 w 499"/>
                <a:gd name="T7" fmla="*/ 595 h 632"/>
                <a:gd name="T8" fmla="*/ 498 w 499"/>
                <a:gd name="T9" fmla="*/ 499 h 632"/>
                <a:gd name="T10" fmla="*/ 498 w 499"/>
                <a:gd name="T11" fmla="*/ 0 h 632"/>
                <a:gd name="T12" fmla="*/ 115 w 499"/>
                <a:gd name="T13" fmla="*/ 221 h 632"/>
                <a:gd name="T14" fmla="*/ 15 w 499"/>
                <a:gd name="T15" fmla="*/ 352 h 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9" h="632">
                  <a:moveTo>
                    <a:pt x="15" y="352"/>
                  </a:moveTo>
                  <a:cubicBezTo>
                    <a:pt x="0" y="405"/>
                    <a:pt x="6" y="464"/>
                    <a:pt x="36" y="516"/>
                  </a:cubicBezTo>
                  <a:cubicBezTo>
                    <a:pt x="66" y="568"/>
                    <a:pt x="114" y="602"/>
                    <a:pt x="167" y="617"/>
                  </a:cubicBezTo>
                  <a:cubicBezTo>
                    <a:pt x="221" y="631"/>
                    <a:pt x="280" y="625"/>
                    <a:pt x="331" y="595"/>
                  </a:cubicBezTo>
                  <a:lnTo>
                    <a:pt x="498" y="499"/>
                  </a:lnTo>
                  <a:lnTo>
                    <a:pt x="498" y="0"/>
                  </a:lnTo>
                  <a:lnTo>
                    <a:pt x="115" y="221"/>
                  </a:lnTo>
                  <a:cubicBezTo>
                    <a:pt x="64" y="251"/>
                    <a:pt x="29" y="299"/>
                    <a:pt x="15" y="352"/>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47" name="Freeform 76">
              <a:extLst>
                <a:ext uri="{FF2B5EF4-FFF2-40B4-BE49-F238E27FC236}">
                  <a16:creationId xmlns:a16="http://schemas.microsoft.com/office/drawing/2014/main" id="{1881824A-01D0-F649-9F7B-CCAB3A1FC716}"/>
                </a:ext>
              </a:extLst>
            </p:cNvPr>
            <p:cNvSpPr>
              <a:spLocks noChangeArrowheads="1"/>
            </p:cNvSpPr>
            <p:nvPr/>
          </p:nvSpPr>
          <p:spPr bwMode="auto">
            <a:xfrm>
              <a:off x="3770313" y="3576638"/>
              <a:ext cx="336550" cy="144462"/>
            </a:xfrm>
            <a:custGeom>
              <a:avLst/>
              <a:gdLst>
                <a:gd name="T0" fmla="*/ 50 w 934"/>
                <a:gd name="T1" fmla="*/ 260 h 400"/>
                <a:gd name="T2" fmla="*/ 345 w 934"/>
                <a:gd name="T3" fmla="*/ 339 h 400"/>
                <a:gd name="T4" fmla="*/ 933 w 934"/>
                <a:gd name="T5" fmla="*/ 0 h 400"/>
                <a:gd name="T6" fmla="*/ 84 w 934"/>
                <a:gd name="T7" fmla="*/ 0 h 400"/>
                <a:gd name="T8" fmla="*/ 50 w 934"/>
                <a:gd name="T9" fmla="*/ 260 h 400"/>
              </a:gdLst>
              <a:ahLst/>
              <a:cxnLst>
                <a:cxn ang="0">
                  <a:pos x="T0" y="T1"/>
                </a:cxn>
                <a:cxn ang="0">
                  <a:pos x="T2" y="T3"/>
                </a:cxn>
                <a:cxn ang="0">
                  <a:pos x="T4" y="T5"/>
                </a:cxn>
                <a:cxn ang="0">
                  <a:pos x="T6" y="T7"/>
                </a:cxn>
                <a:cxn ang="0">
                  <a:pos x="T8" y="T9"/>
                </a:cxn>
              </a:cxnLst>
              <a:rect l="0" t="0" r="r" b="b"/>
              <a:pathLst>
                <a:path w="934" h="400">
                  <a:moveTo>
                    <a:pt x="50" y="260"/>
                  </a:moveTo>
                  <a:cubicBezTo>
                    <a:pt x="110" y="363"/>
                    <a:pt x="242" y="399"/>
                    <a:pt x="345" y="339"/>
                  </a:cubicBezTo>
                  <a:lnTo>
                    <a:pt x="933" y="0"/>
                  </a:lnTo>
                  <a:lnTo>
                    <a:pt x="84" y="0"/>
                  </a:lnTo>
                  <a:cubicBezTo>
                    <a:pt x="17" y="67"/>
                    <a:pt x="0" y="174"/>
                    <a:pt x="50" y="260"/>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2191235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title" preserve="1">
  <p:cSld name="1_Divider v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75600" y="2286000"/>
            <a:ext cx="7970400" cy="1037896"/>
          </a:xfrm>
        </p:spPr>
        <p:txBody>
          <a:bodyPr/>
          <a:lstStyle>
            <a:lvl1pPr algn="l">
              <a:lnSpc>
                <a:spcPts val="6630"/>
              </a:lnSpc>
              <a:defRPr sz="6630"/>
            </a:lvl1pPr>
          </a:lstStyle>
          <a:p>
            <a:r>
              <a:rPr lang="en-US" noProof="0" dirty="0"/>
              <a:t>Click to edit </a:t>
            </a:r>
            <a:endParaRPr lang="en-GB" noProof="0" dirty="0"/>
          </a:p>
        </p:txBody>
      </p:sp>
      <p:sp>
        <p:nvSpPr>
          <p:cNvPr id="3" name="Subtitle 2"/>
          <p:cNvSpPr>
            <a:spLocks noGrp="1"/>
          </p:cNvSpPr>
          <p:nvPr>
            <p:ph type="subTitle" idx="1"/>
          </p:nvPr>
        </p:nvSpPr>
        <p:spPr>
          <a:xfrm>
            <a:off x="1886400" y="3323896"/>
            <a:ext cx="7970400" cy="1090761"/>
          </a:xfrm>
        </p:spPr>
        <p:txBody>
          <a:bodyPr/>
          <a:lstStyle>
            <a:lvl1pPr marL="0" indent="0" algn="l">
              <a:lnSpc>
                <a:spcPts val="1940"/>
              </a:lnSpc>
              <a:spcAft>
                <a:spcPts val="0"/>
              </a:spcAft>
              <a:buNone/>
              <a:defRPr sz="159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Master subtitle style</a:t>
            </a:r>
            <a:endParaRPr lang="en-GB" noProof="0" dirty="0"/>
          </a:p>
        </p:txBody>
      </p:sp>
      <p:grpSp>
        <p:nvGrpSpPr>
          <p:cNvPr id="15" name="Group 14">
            <a:extLst>
              <a:ext uri="{FF2B5EF4-FFF2-40B4-BE49-F238E27FC236}">
                <a16:creationId xmlns:a16="http://schemas.microsoft.com/office/drawing/2014/main" id="{CF2C99D5-F534-7D4D-BF52-24FA97F92344}"/>
              </a:ext>
            </a:extLst>
          </p:cNvPr>
          <p:cNvGrpSpPr/>
          <p:nvPr userDrawn="1"/>
        </p:nvGrpSpPr>
        <p:grpSpPr>
          <a:xfrm>
            <a:off x="0" y="0"/>
            <a:ext cx="12192000" cy="6848592"/>
            <a:chOff x="3392488" y="3576638"/>
            <a:chExt cx="1028700" cy="577850"/>
          </a:xfrm>
        </p:grpSpPr>
        <p:sp>
          <p:nvSpPr>
            <p:cNvPr id="16" name="Freeform 67">
              <a:extLst>
                <a:ext uri="{FF2B5EF4-FFF2-40B4-BE49-F238E27FC236}">
                  <a16:creationId xmlns:a16="http://schemas.microsoft.com/office/drawing/2014/main" id="{36F94379-1C14-2B4F-AF65-0D6682F04445}"/>
                </a:ext>
              </a:extLst>
            </p:cNvPr>
            <p:cNvSpPr>
              <a:spLocks noChangeArrowheads="1"/>
            </p:cNvSpPr>
            <p:nvPr/>
          </p:nvSpPr>
          <p:spPr bwMode="auto">
            <a:xfrm>
              <a:off x="3392488" y="3829050"/>
              <a:ext cx="77787" cy="153988"/>
            </a:xfrm>
            <a:custGeom>
              <a:avLst/>
              <a:gdLst>
                <a:gd name="T0" fmla="*/ 155 w 215"/>
                <a:gd name="T1" fmla="*/ 105 h 427"/>
                <a:gd name="T2" fmla="*/ 0 w 215"/>
                <a:gd name="T3" fmla="*/ 0 h 427"/>
                <a:gd name="T4" fmla="*/ 0 w 215"/>
                <a:gd name="T5" fmla="*/ 66 h 427"/>
                <a:gd name="T6" fmla="*/ 98 w 215"/>
                <a:gd name="T7" fmla="*/ 137 h 427"/>
                <a:gd name="T8" fmla="*/ 43 w 215"/>
                <a:gd name="T9" fmla="*/ 343 h 427"/>
                <a:gd name="T10" fmla="*/ 0 w 215"/>
                <a:gd name="T11" fmla="*/ 359 h 427"/>
                <a:gd name="T12" fmla="*/ 0 w 215"/>
                <a:gd name="T13" fmla="*/ 426 h 427"/>
                <a:gd name="T14" fmla="*/ 76 w 215"/>
                <a:gd name="T15" fmla="*/ 400 h 427"/>
                <a:gd name="T16" fmla="*/ 155 w 215"/>
                <a:gd name="T17" fmla="*/ 105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427">
                  <a:moveTo>
                    <a:pt x="155" y="105"/>
                  </a:moveTo>
                  <a:cubicBezTo>
                    <a:pt x="121" y="47"/>
                    <a:pt x="63" y="10"/>
                    <a:pt x="0" y="0"/>
                  </a:cubicBezTo>
                  <a:lnTo>
                    <a:pt x="0" y="66"/>
                  </a:lnTo>
                  <a:cubicBezTo>
                    <a:pt x="41" y="75"/>
                    <a:pt x="77" y="100"/>
                    <a:pt x="98" y="137"/>
                  </a:cubicBezTo>
                  <a:cubicBezTo>
                    <a:pt x="140" y="209"/>
                    <a:pt x="115" y="301"/>
                    <a:pt x="43" y="343"/>
                  </a:cubicBezTo>
                  <a:cubicBezTo>
                    <a:pt x="30" y="351"/>
                    <a:pt x="15" y="356"/>
                    <a:pt x="0" y="359"/>
                  </a:cubicBezTo>
                  <a:lnTo>
                    <a:pt x="0" y="426"/>
                  </a:lnTo>
                  <a:cubicBezTo>
                    <a:pt x="26" y="422"/>
                    <a:pt x="52" y="413"/>
                    <a:pt x="76" y="400"/>
                  </a:cubicBezTo>
                  <a:cubicBezTo>
                    <a:pt x="179" y="340"/>
                    <a:pt x="214" y="208"/>
                    <a:pt x="155" y="105"/>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7" name="Freeform 68">
              <a:extLst>
                <a:ext uri="{FF2B5EF4-FFF2-40B4-BE49-F238E27FC236}">
                  <a16:creationId xmlns:a16="http://schemas.microsoft.com/office/drawing/2014/main" id="{B7432731-3B8C-2F4D-BB00-75E609792631}"/>
                </a:ext>
              </a:extLst>
            </p:cNvPr>
            <p:cNvSpPr>
              <a:spLocks noChangeArrowheads="1"/>
            </p:cNvSpPr>
            <p:nvPr/>
          </p:nvSpPr>
          <p:spPr bwMode="auto">
            <a:xfrm>
              <a:off x="4139362" y="3971146"/>
              <a:ext cx="163513" cy="169863"/>
            </a:xfrm>
            <a:custGeom>
              <a:avLst/>
              <a:gdLst>
                <a:gd name="T0" fmla="*/ 324 w 456"/>
                <a:gd name="T1" fmla="*/ 178 h 470"/>
                <a:gd name="T2" fmla="*/ 303 w 456"/>
                <a:gd name="T3" fmla="*/ 14 h 470"/>
                <a:gd name="T4" fmla="*/ 139 w 456"/>
                <a:gd name="T5" fmla="*/ 36 h 470"/>
                <a:gd name="T6" fmla="*/ 60 w 456"/>
                <a:gd name="T7" fmla="*/ 331 h 470"/>
                <a:gd name="T8" fmla="*/ 355 w 456"/>
                <a:gd name="T9" fmla="*/ 410 h 470"/>
                <a:gd name="T10" fmla="*/ 455 w 456"/>
                <a:gd name="T11" fmla="*/ 279 h 470"/>
                <a:gd name="T12" fmla="*/ 324 w 456"/>
                <a:gd name="T13" fmla="*/ 178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24" y="178"/>
                  </a:moveTo>
                  <a:cubicBezTo>
                    <a:pt x="294" y="126"/>
                    <a:pt x="288" y="67"/>
                    <a:pt x="303" y="14"/>
                  </a:cubicBezTo>
                  <a:cubicBezTo>
                    <a:pt x="249" y="0"/>
                    <a:pt x="190" y="6"/>
                    <a:pt x="139" y="36"/>
                  </a:cubicBezTo>
                  <a:cubicBezTo>
                    <a:pt x="36" y="95"/>
                    <a:pt x="0" y="227"/>
                    <a:pt x="60" y="331"/>
                  </a:cubicBezTo>
                  <a:cubicBezTo>
                    <a:pt x="119" y="434"/>
                    <a:pt x="252" y="469"/>
                    <a:pt x="355" y="410"/>
                  </a:cubicBezTo>
                  <a:cubicBezTo>
                    <a:pt x="406" y="380"/>
                    <a:pt x="441" y="332"/>
                    <a:pt x="455" y="279"/>
                  </a:cubicBezTo>
                  <a:cubicBezTo>
                    <a:pt x="402" y="264"/>
                    <a:pt x="354" y="230"/>
                    <a:pt x="324" y="178"/>
                  </a:cubicBezTo>
                </a:path>
              </a:pathLst>
            </a:custGeom>
            <a:solidFill>
              <a:schemeClr val="accent4">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8" name="Freeform 69">
              <a:extLst>
                <a:ext uri="{FF2B5EF4-FFF2-40B4-BE49-F238E27FC236}">
                  <a16:creationId xmlns:a16="http://schemas.microsoft.com/office/drawing/2014/main" id="{18145874-9D4A-4147-BA4D-3D6C164241A3}"/>
                </a:ext>
              </a:extLst>
            </p:cNvPr>
            <p:cNvSpPr>
              <a:spLocks noChangeArrowheads="1"/>
            </p:cNvSpPr>
            <p:nvPr/>
          </p:nvSpPr>
          <p:spPr bwMode="auto">
            <a:xfrm>
              <a:off x="4250546" y="3740959"/>
              <a:ext cx="38100" cy="61912"/>
            </a:xfrm>
            <a:custGeom>
              <a:avLst/>
              <a:gdLst>
                <a:gd name="T0" fmla="*/ 7 w 107"/>
                <a:gd name="T1" fmla="*/ 0 h 173"/>
                <a:gd name="T2" fmla="*/ 24 w 107"/>
                <a:gd name="T3" fmla="*/ 105 h 173"/>
                <a:gd name="T4" fmla="*/ 106 w 107"/>
                <a:gd name="T5" fmla="*/ 172 h 173"/>
                <a:gd name="T6" fmla="*/ 77 w 107"/>
                <a:gd name="T7" fmla="*/ 74 h 173"/>
                <a:gd name="T8" fmla="*/ 7 w 107"/>
                <a:gd name="T9" fmla="*/ 0 h 173"/>
              </a:gdLst>
              <a:ahLst/>
              <a:cxnLst>
                <a:cxn ang="0">
                  <a:pos x="T0" y="T1"/>
                </a:cxn>
                <a:cxn ang="0">
                  <a:pos x="T2" y="T3"/>
                </a:cxn>
                <a:cxn ang="0">
                  <a:pos x="T4" y="T5"/>
                </a:cxn>
                <a:cxn ang="0">
                  <a:pos x="T6" y="T7"/>
                </a:cxn>
                <a:cxn ang="0">
                  <a:pos x="T8" y="T9"/>
                </a:cxn>
              </a:cxnLst>
              <a:rect l="0" t="0" r="r" b="b"/>
              <a:pathLst>
                <a:path w="107" h="173">
                  <a:moveTo>
                    <a:pt x="7" y="0"/>
                  </a:moveTo>
                  <a:cubicBezTo>
                    <a:pt x="0" y="36"/>
                    <a:pt x="6" y="73"/>
                    <a:pt x="24" y="105"/>
                  </a:cubicBezTo>
                  <a:cubicBezTo>
                    <a:pt x="42" y="136"/>
                    <a:pt x="72" y="160"/>
                    <a:pt x="106" y="172"/>
                  </a:cubicBezTo>
                  <a:cubicBezTo>
                    <a:pt x="104" y="138"/>
                    <a:pt x="95" y="105"/>
                    <a:pt x="77" y="74"/>
                  </a:cubicBezTo>
                  <a:cubicBezTo>
                    <a:pt x="59" y="43"/>
                    <a:pt x="35" y="18"/>
                    <a:pt x="7" y="0"/>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9" name="Freeform 70">
              <a:extLst>
                <a:ext uri="{FF2B5EF4-FFF2-40B4-BE49-F238E27FC236}">
                  <a16:creationId xmlns:a16="http://schemas.microsoft.com/office/drawing/2014/main" id="{75504BFD-5CD8-F14A-8C90-32166FD9BCB6}"/>
                </a:ext>
              </a:extLst>
            </p:cNvPr>
            <p:cNvSpPr>
              <a:spLocks noChangeArrowheads="1"/>
            </p:cNvSpPr>
            <p:nvPr/>
          </p:nvSpPr>
          <p:spPr bwMode="auto">
            <a:xfrm>
              <a:off x="4124092" y="3724509"/>
              <a:ext cx="163512" cy="169862"/>
            </a:xfrm>
            <a:custGeom>
              <a:avLst/>
              <a:gdLst>
                <a:gd name="T0" fmla="*/ 355 w 456"/>
                <a:gd name="T1" fmla="*/ 409 h 470"/>
                <a:gd name="T2" fmla="*/ 455 w 456"/>
                <a:gd name="T3" fmla="*/ 279 h 470"/>
                <a:gd name="T4" fmla="*/ 324 w 456"/>
                <a:gd name="T5" fmla="*/ 178 h 470"/>
                <a:gd name="T6" fmla="*/ 303 w 456"/>
                <a:gd name="T7" fmla="*/ 14 h 470"/>
                <a:gd name="T8" fmla="*/ 139 w 456"/>
                <a:gd name="T9" fmla="*/ 36 h 470"/>
                <a:gd name="T10" fmla="*/ 60 w 456"/>
                <a:gd name="T11" fmla="*/ 331 h 470"/>
                <a:gd name="T12" fmla="*/ 355 w 456"/>
                <a:gd name="T13" fmla="*/ 409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55" y="409"/>
                  </a:moveTo>
                  <a:cubicBezTo>
                    <a:pt x="407" y="379"/>
                    <a:pt x="441" y="332"/>
                    <a:pt x="455" y="279"/>
                  </a:cubicBezTo>
                  <a:cubicBezTo>
                    <a:pt x="402" y="265"/>
                    <a:pt x="353" y="229"/>
                    <a:pt x="324" y="178"/>
                  </a:cubicBezTo>
                  <a:cubicBezTo>
                    <a:pt x="294" y="126"/>
                    <a:pt x="288" y="68"/>
                    <a:pt x="303" y="14"/>
                  </a:cubicBezTo>
                  <a:cubicBezTo>
                    <a:pt x="249" y="0"/>
                    <a:pt x="191" y="6"/>
                    <a:pt x="139" y="36"/>
                  </a:cubicBezTo>
                  <a:cubicBezTo>
                    <a:pt x="36" y="96"/>
                    <a:pt x="0" y="228"/>
                    <a:pt x="60" y="331"/>
                  </a:cubicBezTo>
                  <a:cubicBezTo>
                    <a:pt x="120" y="433"/>
                    <a:pt x="252" y="469"/>
                    <a:pt x="355" y="409"/>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0" name="Freeform 71">
              <a:extLst>
                <a:ext uri="{FF2B5EF4-FFF2-40B4-BE49-F238E27FC236}">
                  <a16:creationId xmlns:a16="http://schemas.microsoft.com/office/drawing/2014/main" id="{AABC19CF-BF09-294E-BC6C-E3814BF8AAAE}"/>
                </a:ext>
              </a:extLst>
            </p:cNvPr>
            <p:cNvSpPr>
              <a:spLocks noChangeArrowheads="1"/>
            </p:cNvSpPr>
            <p:nvPr/>
          </p:nvSpPr>
          <p:spPr bwMode="auto">
            <a:xfrm>
              <a:off x="4231010" y="3673475"/>
              <a:ext cx="163513" cy="155575"/>
            </a:xfrm>
            <a:custGeom>
              <a:avLst/>
              <a:gdLst>
                <a:gd name="T0" fmla="*/ 63 w 456"/>
                <a:gd name="T1" fmla="*/ 177 h 433"/>
                <a:gd name="T2" fmla="*/ 133 w 456"/>
                <a:gd name="T3" fmla="*/ 86 h 433"/>
                <a:gd name="T4" fmla="*/ 208 w 456"/>
                <a:gd name="T5" fmla="*/ 66 h 433"/>
                <a:gd name="T6" fmla="*/ 208 w 456"/>
                <a:gd name="T7" fmla="*/ 66 h 433"/>
                <a:gd name="T8" fmla="*/ 339 w 456"/>
                <a:gd name="T9" fmla="*/ 141 h 433"/>
                <a:gd name="T10" fmla="*/ 284 w 456"/>
                <a:gd name="T11" fmla="*/ 347 h 433"/>
                <a:gd name="T12" fmla="*/ 209 w 456"/>
                <a:gd name="T13" fmla="*/ 367 h 433"/>
                <a:gd name="T14" fmla="*/ 160 w 456"/>
                <a:gd name="T15" fmla="*/ 359 h 433"/>
                <a:gd name="T16" fmla="*/ 152 w 456"/>
                <a:gd name="T17" fmla="*/ 425 h 433"/>
                <a:gd name="T18" fmla="*/ 209 w 456"/>
                <a:gd name="T19" fmla="*/ 432 h 433"/>
                <a:gd name="T20" fmla="*/ 316 w 456"/>
                <a:gd name="T21" fmla="*/ 403 h 433"/>
                <a:gd name="T22" fmla="*/ 395 w 456"/>
                <a:gd name="T23" fmla="*/ 108 h 433"/>
                <a:gd name="T24" fmla="*/ 208 w 456"/>
                <a:gd name="T25" fmla="*/ 0 h 433"/>
                <a:gd name="T26" fmla="*/ 100 w 456"/>
                <a:gd name="T27" fmla="*/ 29 h 433"/>
                <a:gd name="T28" fmla="*/ 0 w 456"/>
                <a:gd name="T29" fmla="*/ 160 h 433"/>
                <a:gd name="T30" fmla="*/ 61 w 456"/>
                <a:gd name="T31" fmla="*/ 187 h 433"/>
                <a:gd name="T32" fmla="*/ 63 w 456"/>
                <a:gd name="T33" fmla="*/ 177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6" h="433">
                  <a:moveTo>
                    <a:pt x="63" y="177"/>
                  </a:moveTo>
                  <a:cubicBezTo>
                    <a:pt x="73" y="139"/>
                    <a:pt x="98" y="106"/>
                    <a:pt x="133" y="86"/>
                  </a:cubicBezTo>
                  <a:cubicBezTo>
                    <a:pt x="156" y="73"/>
                    <a:pt x="182" y="66"/>
                    <a:pt x="208" y="66"/>
                  </a:cubicBezTo>
                  <a:lnTo>
                    <a:pt x="208" y="66"/>
                  </a:lnTo>
                  <a:cubicBezTo>
                    <a:pt x="262" y="66"/>
                    <a:pt x="312" y="95"/>
                    <a:pt x="339" y="141"/>
                  </a:cubicBezTo>
                  <a:cubicBezTo>
                    <a:pt x="380" y="213"/>
                    <a:pt x="356" y="305"/>
                    <a:pt x="284" y="347"/>
                  </a:cubicBezTo>
                  <a:cubicBezTo>
                    <a:pt x="261" y="360"/>
                    <a:pt x="235" y="367"/>
                    <a:pt x="209" y="367"/>
                  </a:cubicBezTo>
                  <a:cubicBezTo>
                    <a:pt x="192" y="367"/>
                    <a:pt x="175" y="364"/>
                    <a:pt x="160" y="359"/>
                  </a:cubicBezTo>
                  <a:cubicBezTo>
                    <a:pt x="161" y="381"/>
                    <a:pt x="158" y="403"/>
                    <a:pt x="152" y="425"/>
                  </a:cubicBezTo>
                  <a:cubicBezTo>
                    <a:pt x="171" y="430"/>
                    <a:pt x="190" y="432"/>
                    <a:pt x="209" y="432"/>
                  </a:cubicBezTo>
                  <a:cubicBezTo>
                    <a:pt x="245" y="432"/>
                    <a:pt x="282" y="423"/>
                    <a:pt x="316" y="403"/>
                  </a:cubicBezTo>
                  <a:cubicBezTo>
                    <a:pt x="420" y="344"/>
                    <a:pt x="455" y="212"/>
                    <a:pt x="395" y="108"/>
                  </a:cubicBezTo>
                  <a:cubicBezTo>
                    <a:pt x="355" y="39"/>
                    <a:pt x="283" y="0"/>
                    <a:pt x="208" y="0"/>
                  </a:cubicBezTo>
                  <a:cubicBezTo>
                    <a:pt x="172" y="0"/>
                    <a:pt x="134" y="10"/>
                    <a:pt x="100" y="29"/>
                  </a:cubicBezTo>
                  <a:cubicBezTo>
                    <a:pt x="49" y="59"/>
                    <a:pt x="14" y="107"/>
                    <a:pt x="0" y="160"/>
                  </a:cubicBezTo>
                  <a:cubicBezTo>
                    <a:pt x="21" y="166"/>
                    <a:pt x="42" y="175"/>
                    <a:pt x="61" y="187"/>
                  </a:cubicBezTo>
                  <a:cubicBezTo>
                    <a:pt x="61" y="184"/>
                    <a:pt x="62" y="181"/>
                    <a:pt x="63" y="177"/>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1" name="Freeform 72">
              <a:extLst>
                <a:ext uri="{FF2B5EF4-FFF2-40B4-BE49-F238E27FC236}">
                  <a16:creationId xmlns:a16="http://schemas.microsoft.com/office/drawing/2014/main" id="{92E3E01A-4FCA-DD45-B5CC-F5F38951E705}"/>
                </a:ext>
              </a:extLst>
            </p:cNvPr>
            <p:cNvSpPr>
              <a:spLocks noChangeArrowheads="1"/>
            </p:cNvSpPr>
            <p:nvPr/>
          </p:nvSpPr>
          <p:spPr bwMode="auto">
            <a:xfrm>
              <a:off x="4225925" y="3730625"/>
              <a:ext cx="63500" cy="95250"/>
            </a:xfrm>
            <a:custGeom>
              <a:avLst/>
              <a:gdLst>
                <a:gd name="T0" fmla="*/ 36 w 177"/>
                <a:gd name="T1" fmla="*/ 164 h 266"/>
                <a:gd name="T2" fmla="*/ 167 w 177"/>
                <a:gd name="T3" fmla="*/ 265 h 266"/>
                <a:gd name="T4" fmla="*/ 175 w 177"/>
                <a:gd name="T5" fmla="*/ 199 h 266"/>
                <a:gd name="T6" fmla="*/ 93 w 177"/>
                <a:gd name="T7" fmla="*/ 132 h 266"/>
                <a:gd name="T8" fmla="*/ 76 w 177"/>
                <a:gd name="T9" fmla="*/ 27 h 266"/>
                <a:gd name="T10" fmla="*/ 15 w 177"/>
                <a:gd name="T11" fmla="*/ 0 h 266"/>
                <a:gd name="T12" fmla="*/ 36 w 177"/>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7" h="266">
                  <a:moveTo>
                    <a:pt x="36" y="164"/>
                  </a:moveTo>
                  <a:cubicBezTo>
                    <a:pt x="66" y="216"/>
                    <a:pt x="114" y="251"/>
                    <a:pt x="167" y="265"/>
                  </a:cubicBezTo>
                  <a:cubicBezTo>
                    <a:pt x="173" y="243"/>
                    <a:pt x="176" y="221"/>
                    <a:pt x="175" y="199"/>
                  </a:cubicBezTo>
                  <a:cubicBezTo>
                    <a:pt x="141" y="187"/>
                    <a:pt x="111" y="163"/>
                    <a:pt x="93" y="132"/>
                  </a:cubicBezTo>
                  <a:cubicBezTo>
                    <a:pt x="75" y="100"/>
                    <a:pt x="69" y="63"/>
                    <a:pt x="76" y="27"/>
                  </a:cubicBezTo>
                  <a:cubicBezTo>
                    <a:pt x="57" y="15"/>
                    <a:pt x="36" y="6"/>
                    <a:pt x="15" y="0"/>
                  </a:cubicBezTo>
                  <a:cubicBezTo>
                    <a:pt x="0" y="54"/>
                    <a:pt x="7" y="113"/>
                    <a:pt x="36" y="164"/>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2" name="Freeform 74">
              <a:extLst>
                <a:ext uri="{FF2B5EF4-FFF2-40B4-BE49-F238E27FC236}">
                  <a16:creationId xmlns:a16="http://schemas.microsoft.com/office/drawing/2014/main" id="{918DAA48-D2B1-2246-91A8-BE3CE727FFCC}"/>
                </a:ext>
              </a:extLst>
            </p:cNvPr>
            <p:cNvSpPr>
              <a:spLocks noChangeArrowheads="1"/>
            </p:cNvSpPr>
            <p:nvPr/>
          </p:nvSpPr>
          <p:spPr bwMode="auto">
            <a:xfrm>
              <a:off x="3452813" y="3937000"/>
              <a:ext cx="466725" cy="217488"/>
            </a:xfrm>
            <a:custGeom>
              <a:avLst/>
              <a:gdLst>
                <a:gd name="T0" fmla="*/ 1237 w 1298"/>
                <a:gd name="T1" fmla="*/ 139 h 605"/>
                <a:gd name="T2" fmla="*/ 942 w 1298"/>
                <a:gd name="T3" fmla="*/ 60 h 605"/>
                <a:gd name="T4" fmla="*/ 0 w 1298"/>
                <a:gd name="T5" fmla="*/ 604 h 605"/>
                <a:gd name="T6" fmla="*/ 864 w 1298"/>
                <a:gd name="T7" fmla="*/ 604 h 605"/>
                <a:gd name="T8" fmla="*/ 1158 w 1298"/>
                <a:gd name="T9" fmla="*/ 434 h 605"/>
                <a:gd name="T10" fmla="*/ 1237 w 1298"/>
                <a:gd name="T11" fmla="*/ 139 h 605"/>
              </a:gdLst>
              <a:ahLst/>
              <a:cxnLst>
                <a:cxn ang="0">
                  <a:pos x="T0" y="T1"/>
                </a:cxn>
                <a:cxn ang="0">
                  <a:pos x="T2" y="T3"/>
                </a:cxn>
                <a:cxn ang="0">
                  <a:pos x="T4" y="T5"/>
                </a:cxn>
                <a:cxn ang="0">
                  <a:pos x="T6" y="T7"/>
                </a:cxn>
                <a:cxn ang="0">
                  <a:pos x="T8" y="T9"/>
                </a:cxn>
                <a:cxn ang="0">
                  <a:pos x="T10" y="T11"/>
                </a:cxn>
              </a:cxnLst>
              <a:rect l="0" t="0" r="r" b="b"/>
              <a:pathLst>
                <a:path w="1298" h="605">
                  <a:moveTo>
                    <a:pt x="1237" y="139"/>
                  </a:moveTo>
                  <a:cubicBezTo>
                    <a:pt x="1177" y="36"/>
                    <a:pt x="1045" y="0"/>
                    <a:pt x="942" y="60"/>
                  </a:cubicBezTo>
                  <a:lnTo>
                    <a:pt x="0" y="604"/>
                  </a:lnTo>
                  <a:lnTo>
                    <a:pt x="864" y="604"/>
                  </a:lnTo>
                  <a:lnTo>
                    <a:pt x="1158" y="434"/>
                  </a:lnTo>
                  <a:cubicBezTo>
                    <a:pt x="1261" y="374"/>
                    <a:pt x="1297" y="242"/>
                    <a:pt x="1237" y="139"/>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3" name="Freeform 75">
              <a:extLst>
                <a:ext uri="{FF2B5EF4-FFF2-40B4-BE49-F238E27FC236}">
                  <a16:creationId xmlns:a16="http://schemas.microsoft.com/office/drawing/2014/main" id="{BB81E027-6A11-3148-800C-CCECBD062079}"/>
                </a:ext>
              </a:extLst>
            </p:cNvPr>
            <p:cNvSpPr>
              <a:spLocks noChangeArrowheads="1"/>
            </p:cNvSpPr>
            <p:nvPr/>
          </p:nvSpPr>
          <p:spPr bwMode="auto">
            <a:xfrm>
              <a:off x="4241800" y="3849688"/>
              <a:ext cx="179388" cy="227012"/>
            </a:xfrm>
            <a:custGeom>
              <a:avLst/>
              <a:gdLst>
                <a:gd name="T0" fmla="*/ 15 w 499"/>
                <a:gd name="T1" fmla="*/ 352 h 632"/>
                <a:gd name="T2" fmla="*/ 36 w 499"/>
                <a:gd name="T3" fmla="*/ 516 h 632"/>
                <a:gd name="T4" fmla="*/ 167 w 499"/>
                <a:gd name="T5" fmla="*/ 617 h 632"/>
                <a:gd name="T6" fmla="*/ 331 w 499"/>
                <a:gd name="T7" fmla="*/ 595 h 632"/>
                <a:gd name="T8" fmla="*/ 498 w 499"/>
                <a:gd name="T9" fmla="*/ 499 h 632"/>
                <a:gd name="T10" fmla="*/ 498 w 499"/>
                <a:gd name="T11" fmla="*/ 0 h 632"/>
                <a:gd name="T12" fmla="*/ 115 w 499"/>
                <a:gd name="T13" fmla="*/ 221 h 632"/>
                <a:gd name="T14" fmla="*/ 15 w 499"/>
                <a:gd name="T15" fmla="*/ 352 h 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9" h="632">
                  <a:moveTo>
                    <a:pt x="15" y="352"/>
                  </a:moveTo>
                  <a:cubicBezTo>
                    <a:pt x="0" y="405"/>
                    <a:pt x="6" y="464"/>
                    <a:pt x="36" y="516"/>
                  </a:cubicBezTo>
                  <a:cubicBezTo>
                    <a:pt x="66" y="568"/>
                    <a:pt x="114" y="602"/>
                    <a:pt x="167" y="617"/>
                  </a:cubicBezTo>
                  <a:cubicBezTo>
                    <a:pt x="221" y="631"/>
                    <a:pt x="280" y="625"/>
                    <a:pt x="331" y="595"/>
                  </a:cubicBezTo>
                  <a:lnTo>
                    <a:pt x="498" y="499"/>
                  </a:lnTo>
                  <a:lnTo>
                    <a:pt x="498" y="0"/>
                  </a:lnTo>
                  <a:lnTo>
                    <a:pt x="115" y="221"/>
                  </a:lnTo>
                  <a:cubicBezTo>
                    <a:pt x="64" y="251"/>
                    <a:pt x="29" y="299"/>
                    <a:pt x="15" y="352"/>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4" name="Freeform 76">
              <a:extLst>
                <a:ext uri="{FF2B5EF4-FFF2-40B4-BE49-F238E27FC236}">
                  <a16:creationId xmlns:a16="http://schemas.microsoft.com/office/drawing/2014/main" id="{4CA459D3-DC02-204D-AE80-C26E27729645}"/>
                </a:ext>
              </a:extLst>
            </p:cNvPr>
            <p:cNvSpPr>
              <a:spLocks noChangeArrowheads="1"/>
            </p:cNvSpPr>
            <p:nvPr/>
          </p:nvSpPr>
          <p:spPr bwMode="auto">
            <a:xfrm>
              <a:off x="3770313" y="3576638"/>
              <a:ext cx="336550" cy="144462"/>
            </a:xfrm>
            <a:custGeom>
              <a:avLst/>
              <a:gdLst>
                <a:gd name="T0" fmla="*/ 50 w 934"/>
                <a:gd name="T1" fmla="*/ 260 h 400"/>
                <a:gd name="T2" fmla="*/ 345 w 934"/>
                <a:gd name="T3" fmla="*/ 339 h 400"/>
                <a:gd name="T4" fmla="*/ 933 w 934"/>
                <a:gd name="T5" fmla="*/ 0 h 400"/>
                <a:gd name="T6" fmla="*/ 84 w 934"/>
                <a:gd name="T7" fmla="*/ 0 h 400"/>
                <a:gd name="T8" fmla="*/ 50 w 934"/>
                <a:gd name="T9" fmla="*/ 260 h 400"/>
              </a:gdLst>
              <a:ahLst/>
              <a:cxnLst>
                <a:cxn ang="0">
                  <a:pos x="T0" y="T1"/>
                </a:cxn>
                <a:cxn ang="0">
                  <a:pos x="T2" y="T3"/>
                </a:cxn>
                <a:cxn ang="0">
                  <a:pos x="T4" y="T5"/>
                </a:cxn>
                <a:cxn ang="0">
                  <a:pos x="T6" y="T7"/>
                </a:cxn>
                <a:cxn ang="0">
                  <a:pos x="T8" y="T9"/>
                </a:cxn>
              </a:cxnLst>
              <a:rect l="0" t="0" r="r" b="b"/>
              <a:pathLst>
                <a:path w="934" h="400">
                  <a:moveTo>
                    <a:pt x="50" y="260"/>
                  </a:moveTo>
                  <a:cubicBezTo>
                    <a:pt x="110" y="363"/>
                    <a:pt x="242" y="399"/>
                    <a:pt x="345" y="339"/>
                  </a:cubicBezTo>
                  <a:lnTo>
                    <a:pt x="933" y="0"/>
                  </a:lnTo>
                  <a:lnTo>
                    <a:pt x="84" y="0"/>
                  </a:lnTo>
                  <a:cubicBezTo>
                    <a:pt x="17" y="67"/>
                    <a:pt x="0" y="174"/>
                    <a:pt x="50" y="26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9216454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title" preserve="1">
  <p:cSld name="1_Q&amp;A">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875600" y="2286000"/>
            <a:ext cx="7970400" cy="1037896"/>
          </a:xfrm>
        </p:spPr>
        <p:txBody>
          <a:bodyPr/>
          <a:lstStyle>
            <a:lvl1pPr algn="l">
              <a:lnSpc>
                <a:spcPts val="6630"/>
              </a:lnSpc>
              <a:defRPr sz="6630"/>
            </a:lvl1pPr>
          </a:lstStyle>
          <a:p>
            <a:r>
              <a:rPr lang="en-US" noProof="0" dirty="0"/>
              <a:t>Click to edit </a:t>
            </a:r>
            <a:endParaRPr lang="en-GB" noProof="0" dirty="0"/>
          </a:p>
        </p:txBody>
      </p:sp>
      <p:sp>
        <p:nvSpPr>
          <p:cNvPr id="3" name="Subtitle 2"/>
          <p:cNvSpPr>
            <a:spLocks noGrp="1"/>
          </p:cNvSpPr>
          <p:nvPr>
            <p:ph type="subTitle" idx="1"/>
          </p:nvPr>
        </p:nvSpPr>
        <p:spPr>
          <a:xfrm>
            <a:off x="1886400" y="3323896"/>
            <a:ext cx="7970400" cy="1090761"/>
          </a:xfrm>
        </p:spPr>
        <p:txBody>
          <a:bodyPr/>
          <a:lstStyle>
            <a:lvl1pPr marL="0" indent="0" algn="l">
              <a:lnSpc>
                <a:spcPts val="1940"/>
              </a:lnSpc>
              <a:spcAft>
                <a:spcPts val="0"/>
              </a:spcAft>
              <a:buNone/>
              <a:defRPr sz="159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grpSp>
        <p:nvGrpSpPr>
          <p:cNvPr id="14" name="Group 13">
            <a:extLst>
              <a:ext uri="{FF2B5EF4-FFF2-40B4-BE49-F238E27FC236}">
                <a16:creationId xmlns:a16="http://schemas.microsoft.com/office/drawing/2014/main" id="{978D6563-8552-5A43-8787-D9A5CF414447}"/>
              </a:ext>
            </a:extLst>
          </p:cNvPr>
          <p:cNvGrpSpPr/>
          <p:nvPr userDrawn="1"/>
        </p:nvGrpSpPr>
        <p:grpSpPr>
          <a:xfrm>
            <a:off x="0" y="9408"/>
            <a:ext cx="12192000" cy="6848592"/>
            <a:chOff x="3392488" y="3576638"/>
            <a:chExt cx="1028700" cy="577850"/>
          </a:xfrm>
        </p:grpSpPr>
        <p:sp>
          <p:nvSpPr>
            <p:cNvPr id="15" name="Freeform 67">
              <a:extLst>
                <a:ext uri="{FF2B5EF4-FFF2-40B4-BE49-F238E27FC236}">
                  <a16:creationId xmlns:a16="http://schemas.microsoft.com/office/drawing/2014/main" id="{D13863D3-AAE0-8F43-B59F-668B971F2EAD}"/>
                </a:ext>
              </a:extLst>
            </p:cNvPr>
            <p:cNvSpPr>
              <a:spLocks noChangeArrowheads="1"/>
            </p:cNvSpPr>
            <p:nvPr/>
          </p:nvSpPr>
          <p:spPr bwMode="auto">
            <a:xfrm>
              <a:off x="3392488" y="3829050"/>
              <a:ext cx="77787" cy="153988"/>
            </a:xfrm>
            <a:custGeom>
              <a:avLst/>
              <a:gdLst>
                <a:gd name="T0" fmla="*/ 155 w 215"/>
                <a:gd name="T1" fmla="*/ 105 h 427"/>
                <a:gd name="T2" fmla="*/ 0 w 215"/>
                <a:gd name="T3" fmla="*/ 0 h 427"/>
                <a:gd name="T4" fmla="*/ 0 w 215"/>
                <a:gd name="T5" fmla="*/ 66 h 427"/>
                <a:gd name="T6" fmla="*/ 98 w 215"/>
                <a:gd name="T7" fmla="*/ 137 h 427"/>
                <a:gd name="T8" fmla="*/ 43 w 215"/>
                <a:gd name="T9" fmla="*/ 343 h 427"/>
                <a:gd name="T10" fmla="*/ 0 w 215"/>
                <a:gd name="T11" fmla="*/ 359 h 427"/>
                <a:gd name="T12" fmla="*/ 0 w 215"/>
                <a:gd name="T13" fmla="*/ 426 h 427"/>
                <a:gd name="T14" fmla="*/ 76 w 215"/>
                <a:gd name="T15" fmla="*/ 400 h 427"/>
                <a:gd name="T16" fmla="*/ 155 w 215"/>
                <a:gd name="T17" fmla="*/ 105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427">
                  <a:moveTo>
                    <a:pt x="155" y="105"/>
                  </a:moveTo>
                  <a:cubicBezTo>
                    <a:pt x="121" y="47"/>
                    <a:pt x="63" y="10"/>
                    <a:pt x="0" y="0"/>
                  </a:cubicBezTo>
                  <a:lnTo>
                    <a:pt x="0" y="66"/>
                  </a:lnTo>
                  <a:cubicBezTo>
                    <a:pt x="41" y="75"/>
                    <a:pt x="77" y="100"/>
                    <a:pt x="98" y="137"/>
                  </a:cubicBezTo>
                  <a:cubicBezTo>
                    <a:pt x="140" y="209"/>
                    <a:pt x="115" y="301"/>
                    <a:pt x="43" y="343"/>
                  </a:cubicBezTo>
                  <a:cubicBezTo>
                    <a:pt x="30" y="351"/>
                    <a:pt x="15" y="356"/>
                    <a:pt x="0" y="359"/>
                  </a:cubicBezTo>
                  <a:lnTo>
                    <a:pt x="0" y="426"/>
                  </a:lnTo>
                  <a:cubicBezTo>
                    <a:pt x="26" y="422"/>
                    <a:pt x="52" y="413"/>
                    <a:pt x="76" y="400"/>
                  </a:cubicBezTo>
                  <a:cubicBezTo>
                    <a:pt x="179" y="340"/>
                    <a:pt x="214" y="208"/>
                    <a:pt x="155" y="105"/>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6" name="Freeform 68">
              <a:extLst>
                <a:ext uri="{FF2B5EF4-FFF2-40B4-BE49-F238E27FC236}">
                  <a16:creationId xmlns:a16="http://schemas.microsoft.com/office/drawing/2014/main" id="{558A1065-DEB5-AB4C-92C1-BC01D7815183}"/>
                </a:ext>
              </a:extLst>
            </p:cNvPr>
            <p:cNvSpPr>
              <a:spLocks noChangeArrowheads="1"/>
            </p:cNvSpPr>
            <p:nvPr/>
          </p:nvSpPr>
          <p:spPr bwMode="auto">
            <a:xfrm>
              <a:off x="4139362" y="3971146"/>
              <a:ext cx="163513" cy="169863"/>
            </a:xfrm>
            <a:custGeom>
              <a:avLst/>
              <a:gdLst>
                <a:gd name="T0" fmla="*/ 324 w 456"/>
                <a:gd name="T1" fmla="*/ 178 h 470"/>
                <a:gd name="T2" fmla="*/ 303 w 456"/>
                <a:gd name="T3" fmla="*/ 14 h 470"/>
                <a:gd name="T4" fmla="*/ 139 w 456"/>
                <a:gd name="T5" fmla="*/ 36 h 470"/>
                <a:gd name="T6" fmla="*/ 60 w 456"/>
                <a:gd name="T7" fmla="*/ 331 h 470"/>
                <a:gd name="T8" fmla="*/ 355 w 456"/>
                <a:gd name="T9" fmla="*/ 410 h 470"/>
                <a:gd name="T10" fmla="*/ 455 w 456"/>
                <a:gd name="T11" fmla="*/ 279 h 470"/>
                <a:gd name="T12" fmla="*/ 324 w 456"/>
                <a:gd name="T13" fmla="*/ 178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24" y="178"/>
                  </a:moveTo>
                  <a:cubicBezTo>
                    <a:pt x="294" y="126"/>
                    <a:pt x="288" y="67"/>
                    <a:pt x="303" y="14"/>
                  </a:cubicBezTo>
                  <a:cubicBezTo>
                    <a:pt x="249" y="0"/>
                    <a:pt x="190" y="6"/>
                    <a:pt x="139" y="36"/>
                  </a:cubicBezTo>
                  <a:cubicBezTo>
                    <a:pt x="36" y="95"/>
                    <a:pt x="0" y="227"/>
                    <a:pt x="60" y="331"/>
                  </a:cubicBezTo>
                  <a:cubicBezTo>
                    <a:pt x="119" y="434"/>
                    <a:pt x="252" y="469"/>
                    <a:pt x="355" y="410"/>
                  </a:cubicBezTo>
                  <a:cubicBezTo>
                    <a:pt x="406" y="380"/>
                    <a:pt x="441" y="332"/>
                    <a:pt x="455" y="279"/>
                  </a:cubicBezTo>
                  <a:cubicBezTo>
                    <a:pt x="402" y="264"/>
                    <a:pt x="354" y="230"/>
                    <a:pt x="324" y="178"/>
                  </a:cubicBezTo>
                </a:path>
              </a:pathLst>
            </a:custGeom>
            <a:solidFill>
              <a:schemeClr val="accent3">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GB" dirty="0"/>
                <a:t>```</a:t>
              </a:r>
              <a:endParaRPr dirty="0"/>
            </a:p>
          </p:txBody>
        </p:sp>
        <p:sp>
          <p:nvSpPr>
            <p:cNvPr id="17" name="Freeform 69">
              <a:extLst>
                <a:ext uri="{FF2B5EF4-FFF2-40B4-BE49-F238E27FC236}">
                  <a16:creationId xmlns:a16="http://schemas.microsoft.com/office/drawing/2014/main" id="{48D42E01-608A-394A-AE80-725658FEE22E}"/>
                </a:ext>
              </a:extLst>
            </p:cNvPr>
            <p:cNvSpPr>
              <a:spLocks noChangeArrowheads="1"/>
            </p:cNvSpPr>
            <p:nvPr/>
          </p:nvSpPr>
          <p:spPr bwMode="auto">
            <a:xfrm>
              <a:off x="4250546" y="3740959"/>
              <a:ext cx="38100" cy="61912"/>
            </a:xfrm>
            <a:custGeom>
              <a:avLst/>
              <a:gdLst>
                <a:gd name="T0" fmla="*/ 7 w 107"/>
                <a:gd name="T1" fmla="*/ 0 h 173"/>
                <a:gd name="T2" fmla="*/ 24 w 107"/>
                <a:gd name="T3" fmla="*/ 105 h 173"/>
                <a:gd name="T4" fmla="*/ 106 w 107"/>
                <a:gd name="T5" fmla="*/ 172 h 173"/>
                <a:gd name="T6" fmla="*/ 77 w 107"/>
                <a:gd name="T7" fmla="*/ 74 h 173"/>
                <a:gd name="T8" fmla="*/ 7 w 107"/>
                <a:gd name="T9" fmla="*/ 0 h 173"/>
              </a:gdLst>
              <a:ahLst/>
              <a:cxnLst>
                <a:cxn ang="0">
                  <a:pos x="T0" y="T1"/>
                </a:cxn>
                <a:cxn ang="0">
                  <a:pos x="T2" y="T3"/>
                </a:cxn>
                <a:cxn ang="0">
                  <a:pos x="T4" y="T5"/>
                </a:cxn>
                <a:cxn ang="0">
                  <a:pos x="T6" y="T7"/>
                </a:cxn>
                <a:cxn ang="0">
                  <a:pos x="T8" y="T9"/>
                </a:cxn>
              </a:cxnLst>
              <a:rect l="0" t="0" r="r" b="b"/>
              <a:pathLst>
                <a:path w="107" h="173">
                  <a:moveTo>
                    <a:pt x="7" y="0"/>
                  </a:moveTo>
                  <a:cubicBezTo>
                    <a:pt x="0" y="36"/>
                    <a:pt x="6" y="73"/>
                    <a:pt x="24" y="105"/>
                  </a:cubicBezTo>
                  <a:cubicBezTo>
                    <a:pt x="42" y="136"/>
                    <a:pt x="72" y="160"/>
                    <a:pt x="106" y="172"/>
                  </a:cubicBezTo>
                  <a:cubicBezTo>
                    <a:pt x="104" y="138"/>
                    <a:pt x="95" y="105"/>
                    <a:pt x="77" y="74"/>
                  </a:cubicBezTo>
                  <a:cubicBezTo>
                    <a:pt x="59" y="43"/>
                    <a:pt x="35" y="18"/>
                    <a:pt x="7" y="0"/>
                  </a:cubicBezTo>
                </a:path>
              </a:pathLst>
            </a:custGeom>
            <a:solidFill>
              <a:schemeClr val="accent4">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8" name="Freeform 70">
              <a:extLst>
                <a:ext uri="{FF2B5EF4-FFF2-40B4-BE49-F238E27FC236}">
                  <a16:creationId xmlns:a16="http://schemas.microsoft.com/office/drawing/2014/main" id="{1CED4540-7D49-5A4B-805A-5209D415C6B8}"/>
                </a:ext>
              </a:extLst>
            </p:cNvPr>
            <p:cNvSpPr>
              <a:spLocks noChangeArrowheads="1"/>
            </p:cNvSpPr>
            <p:nvPr/>
          </p:nvSpPr>
          <p:spPr bwMode="auto">
            <a:xfrm>
              <a:off x="4124092" y="3724509"/>
              <a:ext cx="163512" cy="169862"/>
            </a:xfrm>
            <a:custGeom>
              <a:avLst/>
              <a:gdLst>
                <a:gd name="T0" fmla="*/ 355 w 456"/>
                <a:gd name="T1" fmla="*/ 409 h 470"/>
                <a:gd name="T2" fmla="*/ 455 w 456"/>
                <a:gd name="T3" fmla="*/ 279 h 470"/>
                <a:gd name="T4" fmla="*/ 324 w 456"/>
                <a:gd name="T5" fmla="*/ 178 h 470"/>
                <a:gd name="T6" fmla="*/ 303 w 456"/>
                <a:gd name="T7" fmla="*/ 14 h 470"/>
                <a:gd name="T8" fmla="*/ 139 w 456"/>
                <a:gd name="T9" fmla="*/ 36 h 470"/>
                <a:gd name="T10" fmla="*/ 60 w 456"/>
                <a:gd name="T11" fmla="*/ 331 h 470"/>
                <a:gd name="T12" fmla="*/ 355 w 456"/>
                <a:gd name="T13" fmla="*/ 409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55" y="409"/>
                  </a:moveTo>
                  <a:cubicBezTo>
                    <a:pt x="407" y="379"/>
                    <a:pt x="441" y="332"/>
                    <a:pt x="455" y="279"/>
                  </a:cubicBezTo>
                  <a:cubicBezTo>
                    <a:pt x="402" y="265"/>
                    <a:pt x="353" y="229"/>
                    <a:pt x="324" y="178"/>
                  </a:cubicBezTo>
                  <a:cubicBezTo>
                    <a:pt x="294" y="126"/>
                    <a:pt x="288" y="68"/>
                    <a:pt x="303" y="14"/>
                  </a:cubicBezTo>
                  <a:cubicBezTo>
                    <a:pt x="249" y="0"/>
                    <a:pt x="191" y="6"/>
                    <a:pt x="139" y="36"/>
                  </a:cubicBezTo>
                  <a:cubicBezTo>
                    <a:pt x="36" y="96"/>
                    <a:pt x="0" y="228"/>
                    <a:pt x="60" y="331"/>
                  </a:cubicBezTo>
                  <a:cubicBezTo>
                    <a:pt x="120" y="433"/>
                    <a:pt x="252" y="469"/>
                    <a:pt x="355" y="409"/>
                  </a:cubicBezTo>
                </a:path>
              </a:pathLst>
            </a:custGeom>
            <a:solidFill>
              <a:schemeClr val="accent4">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9" name="Freeform 71">
              <a:extLst>
                <a:ext uri="{FF2B5EF4-FFF2-40B4-BE49-F238E27FC236}">
                  <a16:creationId xmlns:a16="http://schemas.microsoft.com/office/drawing/2014/main" id="{CDF3D188-35E5-6643-8475-EFAE19344638}"/>
                </a:ext>
              </a:extLst>
            </p:cNvPr>
            <p:cNvSpPr>
              <a:spLocks noChangeArrowheads="1"/>
            </p:cNvSpPr>
            <p:nvPr/>
          </p:nvSpPr>
          <p:spPr bwMode="auto">
            <a:xfrm>
              <a:off x="4231010" y="3673475"/>
              <a:ext cx="163513" cy="155575"/>
            </a:xfrm>
            <a:custGeom>
              <a:avLst/>
              <a:gdLst>
                <a:gd name="T0" fmla="*/ 63 w 456"/>
                <a:gd name="T1" fmla="*/ 177 h 433"/>
                <a:gd name="T2" fmla="*/ 133 w 456"/>
                <a:gd name="T3" fmla="*/ 86 h 433"/>
                <a:gd name="T4" fmla="*/ 208 w 456"/>
                <a:gd name="T5" fmla="*/ 66 h 433"/>
                <a:gd name="T6" fmla="*/ 208 w 456"/>
                <a:gd name="T7" fmla="*/ 66 h 433"/>
                <a:gd name="T8" fmla="*/ 339 w 456"/>
                <a:gd name="T9" fmla="*/ 141 h 433"/>
                <a:gd name="T10" fmla="*/ 284 w 456"/>
                <a:gd name="T11" fmla="*/ 347 h 433"/>
                <a:gd name="T12" fmla="*/ 209 w 456"/>
                <a:gd name="T13" fmla="*/ 367 h 433"/>
                <a:gd name="T14" fmla="*/ 160 w 456"/>
                <a:gd name="T15" fmla="*/ 359 h 433"/>
                <a:gd name="T16" fmla="*/ 152 w 456"/>
                <a:gd name="T17" fmla="*/ 425 h 433"/>
                <a:gd name="T18" fmla="*/ 209 w 456"/>
                <a:gd name="T19" fmla="*/ 432 h 433"/>
                <a:gd name="T20" fmla="*/ 316 w 456"/>
                <a:gd name="T21" fmla="*/ 403 h 433"/>
                <a:gd name="T22" fmla="*/ 395 w 456"/>
                <a:gd name="T23" fmla="*/ 108 h 433"/>
                <a:gd name="T24" fmla="*/ 208 w 456"/>
                <a:gd name="T25" fmla="*/ 0 h 433"/>
                <a:gd name="T26" fmla="*/ 100 w 456"/>
                <a:gd name="T27" fmla="*/ 29 h 433"/>
                <a:gd name="T28" fmla="*/ 0 w 456"/>
                <a:gd name="T29" fmla="*/ 160 h 433"/>
                <a:gd name="T30" fmla="*/ 61 w 456"/>
                <a:gd name="T31" fmla="*/ 187 h 433"/>
                <a:gd name="T32" fmla="*/ 63 w 456"/>
                <a:gd name="T33" fmla="*/ 177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6" h="433">
                  <a:moveTo>
                    <a:pt x="63" y="177"/>
                  </a:moveTo>
                  <a:cubicBezTo>
                    <a:pt x="73" y="139"/>
                    <a:pt x="98" y="106"/>
                    <a:pt x="133" y="86"/>
                  </a:cubicBezTo>
                  <a:cubicBezTo>
                    <a:pt x="156" y="73"/>
                    <a:pt x="182" y="66"/>
                    <a:pt x="208" y="66"/>
                  </a:cubicBezTo>
                  <a:lnTo>
                    <a:pt x="208" y="66"/>
                  </a:lnTo>
                  <a:cubicBezTo>
                    <a:pt x="262" y="66"/>
                    <a:pt x="312" y="95"/>
                    <a:pt x="339" y="141"/>
                  </a:cubicBezTo>
                  <a:cubicBezTo>
                    <a:pt x="380" y="213"/>
                    <a:pt x="356" y="305"/>
                    <a:pt x="284" y="347"/>
                  </a:cubicBezTo>
                  <a:cubicBezTo>
                    <a:pt x="261" y="360"/>
                    <a:pt x="235" y="367"/>
                    <a:pt x="209" y="367"/>
                  </a:cubicBezTo>
                  <a:cubicBezTo>
                    <a:pt x="192" y="367"/>
                    <a:pt x="175" y="364"/>
                    <a:pt x="160" y="359"/>
                  </a:cubicBezTo>
                  <a:cubicBezTo>
                    <a:pt x="161" y="381"/>
                    <a:pt x="158" y="403"/>
                    <a:pt x="152" y="425"/>
                  </a:cubicBezTo>
                  <a:cubicBezTo>
                    <a:pt x="171" y="430"/>
                    <a:pt x="190" y="432"/>
                    <a:pt x="209" y="432"/>
                  </a:cubicBezTo>
                  <a:cubicBezTo>
                    <a:pt x="245" y="432"/>
                    <a:pt x="282" y="423"/>
                    <a:pt x="316" y="403"/>
                  </a:cubicBezTo>
                  <a:cubicBezTo>
                    <a:pt x="420" y="344"/>
                    <a:pt x="455" y="212"/>
                    <a:pt x="395" y="108"/>
                  </a:cubicBezTo>
                  <a:cubicBezTo>
                    <a:pt x="355" y="39"/>
                    <a:pt x="283" y="0"/>
                    <a:pt x="208" y="0"/>
                  </a:cubicBezTo>
                  <a:cubicBezTo>
                    <a:pt x="172" y="0"/>
                    <a:pt x="134" y="10"/>
                    <a:pt x="100" y="29"/>
                  </a:cubicBezTo>
                  <a:cubicBezTo>
                    <a:pt x="49" y="59"/>
                    <a:pt x="14" y="107"/>
                    <a:pt x="0" y="160"/>
                  </a:cubicBezTo>
                  <a:cubicBezTo>
                    <a:pt x="21" y="166"/>
                    <a:pt x="42" y="175"/>
                    <a:pt x="61" y="187"/>
                  </a:cubicBezTo>
                  <a:cubicBezTo>
                    <a:pt x="61" y="184"/>
                    <a:pt x="62" y="181"/>
                    <a:pt x="63" y="177"/>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0" name="Freeform 72">
              <a:extLst>
                <a:ext uri="{FF2B5EF4-FFF2-40B4-BE49-F238E27FC236}">
                  <a16:creationId xmlns:a16="http://schemas.microsoft.com/office/drawing/2014/main" id="{26663B64-67D5-444B-B101-45356A95E10A}"/>
                </a:ext>
              </a:extLst>
            </p:cNvPr>
            <p:cNvSpPr>
              <a:spLocks noChangeArrowheads="1"/>
            </p:cNvSpPr>
            <p:nvPr/>
          </p:nvSpPr>
          <p:spPr bwMode="auto">
            <a:xfrm>
              <a:off x="4225925" y="3730625"/>
              <a:ext cx="63500" cy="95250"/>
            </a:xfrm>
            <a:custGeom>
              <a:avLst/>
              <a:gdLst>
                <a:gd name="T0" fmla="*/ 36 w 177"/>
                <a:gd name="T1" fmla="*/ 164 h 266"/>
                <a:gd name="T2" fmla="*/ 167 w 177"/>
                <a:gd name="T3" fmla="*/ 265 h 266"/>
                <a:gd name="T4" fmla="*/ 175 w 177"/>
                <a:gd name="T5" fmla="*/ 199 h 266"/>
                <a:gd name="T6" fmla="*/ 93 w 177"/>
                <a:gd name="T7" fmla="*/ 132 h 266"/>
                <a:gd name="T8" fmla="*/ 76 w 177"/>
                <a:gd name="T9" fmla="*/ 27 h 266"/>
                <a:gd name="T10" fmla="*/ 15 w 177"/>
                <a:gd name="T11" fmla="*/ 0 h 266"/>
                <a:gd name="T12" fmla="*/ 36 w 177"/>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7" h="266">
                  <a:moveTo>
                    <a:pt x="36" y="164"/>
                  </a:moveTo>
                  <a:cubicBezTo>
                    <a:pt x="66" y="216"/>
                    <a:pt x="114" y="251"/>
                    <a:pt x="167" y="265"/>
                  </a:cubicBezTo>
                  <a:cubicBezTo>
                    <a:pt x="173" y="243"/>
                    <a:pt x="176" y="221"/>
                    <a:pt x="175" y="199"/>
                  </a:cubicBezTo>
                  <a:cubicBezTo>
                    <a:pt x="141" y="187"/>
                    <a:pt x="111" y="163"/>
                    <a:pt x="93" y="132"/>
                  </a:cubicBezTo>
                  <a:cubicBezTo>
                    <a:pt x="75" y="100"/>
                    <a:pt x="69" y="63"/>
                    <a:pt x="76" y="27"/>
                  </a:cubicBezTo>
                  <a:cubicBezTo>
                    <a:pt x="57" y="15"/>
                    <a:pt x="36" y="6"/>
                    <a:pt x="15" y="0"/>
                  </a:cubicBezTo>
                  <a:cubicBezTo>
                    <a:pt x="0" y="54"/>
                    <a:pt x="7" y="113"/>
                    <a:pt x="36" y="164"/>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1" name="Freeform 74">
              <a:extLst>
                <a:ext uri="{FF2B5EF4-FFF2-40B4-BE49-F238E27FC236}">
                  <a16:creationId xmlns:a16="http://schemas.microsoft.com/office/drawing/2014/main" id="{C124E89C-1759-6F40-A554-9286D71F69E0}"/>
                </a:ext>
              </a:extLst>
            </p:cNvPr>
            <p:cNvSpPr>
              <a:spLocks noChangeArrowheads="1"/>
            </p:cNvSpPr>
            <p:nvPr/>
          </p:nvSpPr>
          <p:spPr bwMode="auto">
            <a:xfrm>
              <a:off x="3452813" y="3937000"/>
              <a:ext cx="466725" cy="217488"/>
            </a:xfrm>
            <a:custGeom>
              <a:avLst/>
              <a:gdLst>
                <a:gd name="T0" fmla="*/ 1237 w 1298"/>
                <a:gd name="T1" fmla="*/ 139 h 605"/>
                <a:gd name="T2" fmla="*/ 942 w 1298"/>
                <a:gd name="T3" fmla="*/ 60 h 605"/>
                <a:gd name="T4" fmla="*/ 0 w 1298"/>
                <a:gd name="T5" fmla="*/ 604 h 605"/>
                <a:gd name="T6" fmla="*/ 864 w 1298"/>
                <a:gd name="T7" fmla="*/ 604 h 605"/>
                <a:gd name="T8" fmla="*/ 1158 w 1298"/>
                <a:gd name="T9" fmla="*/ 434 h 605"/>
                <a:gd name="T10" fmla="*/ 1237 w 1298"/>
                <a:gd name="T11" fmla="*/ 139 h 605"/>
              </a:gdLst>
              <a:ahLst/>
              <a:cxnLst>
                <a:cxn ang="0">
                  <a:pos x="T0" y="T1"/>
                </a:cxn>
                <a:cxn ang="0">
                  <a:pos x="T2" y="T3"/>
                </a:cxn>
                <a:cxn ang="0">
                  <a:pos x="T4" y="T5"/>
                </a:cxn>
                <a:cxn ang="0">
                  <a:pos x="T6" y="T7"/>
                </a:cxn>
                <a:cxn ang="0">
                  <a:pos x="T8" y="T9"/>
                </a:cxn>
                <a:cxn ang="0">
                  <a:pos x="T10" y="T11"/>
                </a:cxn>
              </a:cxnLst>
              <a:rect l="0" t="0" r="r" b="b"/>
              <a:pathLst>
                <a:path w="1298" h="605">
                  <a:moveTo>
                    <a:pt x="1237" y="139"/>
                  </a:moveTo>
                  <a:cubicBezTo>
                    <a:pt x="1177" y="36"/>
                    <a:pt x="1045" y="0"/>
                    <a:pt x="942" y="60"/>
                  </a:cubicBezTo>
                  <a:lnTo>
                    <a:pt x="0" y="604"/>
                  </a:lnTo>
                  <a:lnTo>
                    <a:pt x="864" y="604"/>
                  </a:lnTo>
                  <a:lnTo>
                    <a:pt x="1158" y="434"/>
                  </a:lnTo>
                  <a:cubicBezTo>
                    <a:pt x="1261" y="374"/>
                    <a:pt x="1297" y="242"/>
                    <a:pt x="1237" y="139"/>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2" name="Freeform 75">
              <a:extLst>
                <a:ext uri="{FF2B5EF4-FFF2-40B4-BE49-F238E27FC236}">
                  <a16:creationId xmlns:a16="http://schemas.microsoft.com/office/drawing/2014/main" id="{9D97D61E-A165-6747-A249-21CFEB52512D}"/>
                </a:ext>
              </a:extLst>
            </p:cNvPr>
            <p:cNvSpPr>
              <a:spLocks noChangeArrowheads="1"/>
            </p:cNvSpPr>
            <p:nvPr/>
          </p:nvSpPr>
          <p:spPr bwMode="auto">
            <a:xfrm>
              <a:off x="4241800" y="3849688"/>
              <a:ext cx="179388" cy="227012"/>
            </a:xfrm>
            <a:custGeom>
              <a:avLst/>
              <a:gdLst>
                <a:gd name="T0" fmla="*/ 15 w 499"/>
                <a:gd name="T1" fmla="*/ 352 h 632"/>
                <a:gd name="T2" fmla="*/ 36 w 499"/>
                <a:gd name="T3" fmla="*/ 516 h 632"/>
                <a:gd name="T4" fmla="*/ 167 w 499"/>
                <a:gd name="T5" fmla="*/ 617 h 632"/>
                <a:gd name="T6" fmla="*/ 331 w 499"/>
                <a:gd name="T7" fmla="*/ 595 h 632"/>
                <a:gd name="T8" fmla="*/ 498 w 499"/>
                <a:gd name="T9" fmla="*/ 499 h 632"/>
                <a:gd name="T10" fmla="*/ 498 w 499"/>
                <a:gd name="T11" fmla="*/ 0 h 632"/>
                <a:gd name="T12" fmla="*/ 115 w 499"/>
                <a:gd name="T13" fmla="*/ 221 h 632"/>
                <a:gd name="T14" fmla="*/ 15 w 499"/>
                <a:gd name="T15" fmla="*/ 352 h 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99" h="632">
                  <a:moveTo>
                    <a:pt x="15" y="352"/>
                  </a:moveTo>
                  <a:cubicBezTo>
                    <a:pt x="0" y="405"/>
                    <a:pt x="6" y="464"/>
                    <a:pt x="36" y="516"/>
                  </a:cubicBezTo>
                  <a:cubicBezTo>
                    <a:pt x="66" y="568"/>
                    <a:pt x="114" y="602"/>
                    <a:pt x="167" y="617"/>
                  </a:cubicBezTo>
                  <a:cubicBezTo>
                    <a:pt x="221" y="631"/>
                    <a:pt x="280" y="625"/>
                    <a:pt x="331" y="595"/>
                  </a:cubicBezTo>
                  <a:lnTo>
                    <a:pt x="498" y="499"/>
                  </a:lnTo>
                  <a:lnTo>
                    <a:pt x="498" y="0"/>
                  </a:lnTo>
                  <a:lnTo>
                    <a:pt x="115" y="221"/>
                  </a:lnTo>
                  <a:cubicBezTo>
                    <a:pt x="64" y="251"/>
                    <a:pt x="29" y="299"/>
                    <a:pt x="15" y="352"/>
                  </a:cubicBezTo>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r>
                <a:rPr lang="en-GB" dirty="0"/>
                <a:t>`</a:t>
              </a:r>
              <a:endParaRPr dirty="0"/>
            </a:p>
          </p:txBody>
        </p:sp>
        <p:sp>
          <p:nvSpPr>
            <p:cNvPr id="23" name="Freeform 76">
              <a:extLst>
                <a:ext uri="{FF2B5EF4-FFF2-40B4-BE49-F238E27FC236}">
                  <a16:creationId xmlns:a16="http://schemas.microsoft.com/office/drawing/2014/main" id="{13E8EABB-7A19-FF4E-9491-5839CBB35A72}"/>
                </a:ext>
              </a:extLst>
            </p:cNvPr>
            <p:cNvSpPr>
              <a:spLocks noChangeArrowheads="1"/>
            </p:cNvSpPr>
            <p:nvPr/>
          </p:nvSpPr>
          <p:spPr bwMode="auto">
            <a:xfrm>
              <a:off x="3770313" y="3576638"/>
              <a:ext cx="336550" cy="144462"/>
            </a:xfrm>
            <a:custGeom>
              <a:avLst/>
              <a:gdLst>
                <a:gd name="T0" fmla="*/ 50 w 934"/>
                <a:gd name="T1" fmla="*/ 260 h 400"/>
                <a:gd name="T2" fmla="*/ 345 w 934"/>
                <a:gd name="T3" fmla="*/ 339 h 400"/>
                <a:gd name="T4" fmla="*/ 933 w 934"/>
                <a:gd name="T5" fmla="*/ 0 h 400"/>
                <a:gd name="T6" fmla="*/ 84 w 934"/>
                <a:gd name="T7" fmla="*/ 0 h 400"/>
                <a:gd name="T8" fmla="*/ 50 w 934"/>
                <a:gd name="T9" fmla="*/ 260 h 400"/>
              </a:gdLst>
              <a:ahLst/>
              <a:cxnLst>
                <a:cxn ang="0">
                  <a:pos x="T0" y="T1"/>
                </a:cxn>
                <a:cxn ang="0">
                  <a:pos x="T2" y="T3"/>
                </a:cxn>
                <a:cxn ang="0">
                  <a:pos x="T4" y="T5"/>
                </a:cxn>
                <a:cxn ang="0">
                  <a:pos x="T6" y="T7"/>
                </a:cxn>
                <a:cxn ang="0">
                  <a:pos x="T8" y="T9"/>
                </a:cxn>
              </a:cxnLst>
              <a:rect l="0" t="0" r="r" b="b"/>
              <a:pathLst>
                <a:path w="934" h="400">
                  <a:moveTo>
                    <a:pt x="50" y="260"/>
                  </a:moveTo>
                  <a:cubicBezTo>
                    <a:pt x="110" y="363"/>
                    <a:pt x="242" y="399"/>
                    <a:pt x="345" y="339"/>
                  </a:cubicBezTo>
                  <a:lnTo>
                    <a:pt x="933" y="0"/>
                  </a:lnTo>
                  <a:lnTo>
                    <a:pt x="84" y="0"/>
                  </a:lnTo>
                  <a:cubicBezTo>
                    <a:pt x="17" y="67"/>
                    <a:pt x="0" y="174"/>
                    <a:pt x="50" y="260"/>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15038804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all-out + image v1a">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3C38C040-C7F5-455F-9FDF-D67805C679F1}"/>
              </a:ext>
            </a:extLst>
          </p:cNvPr>
          <p:cNvSpPr>
            <a:spLocks noGrp="1"/>
          </p:cNvSpPr>
          <p:nvPr>
            <p:ph type="pic" sz="quarter" idx="11"/>
          </p:nvPr>
        </p:nvSpPr>
        <p:spPr>
          <a:xfrm>
            <a:off x="4693414" y="-11873"/>
            <a:ext cx="7498586" cy="6413560"/>
          </a:xfrm>
          <a:custGeom>
            <a:avLst/>
            <a:gdLst>
              <a:gd name="connsiteX0" fmla="*/ 0 w 7510462"/>
              <a:gd name="connsiteY0" fmla="*/ 3206750 h 6413500"/>
              <a:gd name="connsiteX1" fmla="*/ 3755231 w 7510462"/>
              <a:gd name="connsiteY1" fmla="*/ 0 h 6413500"/>
              <a:gd name="connsiteX2" fmla="*/ 7510462 w 7510462"/>
              <a:gd name="connsiteY2" fmla="*/ 0 h 6413500"/>
              <a:gd name="connsiteX3" fmla="*/ 7510462 w 7510462"/>
              <a:gd name="connsiteY3" fmla="*/ 3206750 h 6413500"/>
              <a:gd name="connsiteX4" fmla="*/ 3755231 w 7510462"/>
              <a:gd name="connsiteY4" fmla="*/ 6413500 h 6413500"/>
              <a:gd name="connsiteX5" fmla="*/ 0 w 7510462"/>
              <a:gd name="connsiteY5" fmla="*/ 3206750 h 6413500"/>
              <a:gd name="connsiteX0" fmla="*/ 2908 w 7513370"/>
              <a:gd name="connsiteY0" fmla="*/ 3206750 h 6401625"/>
              <a:gd name="connsiteX1" fmla="*/ 3758139 w 7513370"/>
              <a:gd name="connsiteY1" fmla="*/ 0 h 6401625"/>
              <a:gd name="connsiteX2" fmla="*/ 7513370 w 7513370"/>
              <a:gd name="connsiteY2" fmla="*/ 0 h 6401625"/>
              <a:gd name="connsiteX3" fmla="*/ 7513370 w 7513370"/>
              <a:gd name="connsiteY3" fmla="*/ 3206750 h 6401625"/>
              <a:gd name="connsiteX4" fmla="*/ 3318752 w 7513370"/>
              <a:gd name="connsiteY4" fmla="*/ 6401625 h 6401625"/>
              <a:gd name="connsiteX5" fmla="*/ 2908 w 7513370"/>
              <a:gd name="connsiteY5" fmla="*/ 3206750 h 6401625"/>
              <a:gd name="connsiteX0" fmla="*/ 1834 w 7512296"/>
              <a:gd name="connsiteY0" fmla="*/ 3206750 h 6465504"/>
              <a:gd name="connsiteX1" fmla="*/ 3757065 w 7512296"/>
              <a:gd name="connsiteY1" fmla="*/ 0 h 6465504"/>
              <a:gd name="connsiteX2" fmla="*/ 7512296 w 7512296"/>
              <a:gd name="connsiteY2" fmla="*/ 0 h 6465504"/>
              <a:gd name="connsiteX3" fmla="*/ 7512296 w 7512296"/>
              <a:gd name="connsiteY3" fmla="*/ 4548662 h 6465504"/>
              <a:gd name="connsiteX4" fmla="*/ 3317678 w 7512296"/>
              <a:gd name="connsiteY4" fmla="*/ 6401625 h 6465504"/>
              <a:gd name="connsiteX5" fmla="*/ 1834 w 7512296"/>
              <a:gd name="connsiteY5" fmla="*/ 3206750 h 6465504"/>
              <a:gd name="connsiteX0" fmla="*/ 1834 w 7512296"/>
              <a:gd name="connsiteY0" fmla="*/ 3206750 h 6433966"/>
              <a:gd name="connsiteX1" fmla="*/ 3757065 w 7512296"/>
              <a:gd name="connsiteY1" fmla="*/ 0 h 6433966"/>
              <a:gd name="connsiteX2" fmla="*/ 7512296 w 7512296"/>
              <a:gd name="connsiteY2" fmla="*/ 0 h 6433966"/>
              <a:gd name="connsiteX3" fmla="*/ 7512296 w 7512296"/>
              <a:gd name="connsiteY3" fmla="*/ 4548662 h 6433966"/>
              <a:gd name="connsiteX4" fmla="*/ 3317678 w 7512296"/>
              <a:gd name="connsiteY4" fmla="*/ 6401625 h 6433966"/>
              <a:gd name="connsiteX5" fmla="*/ 1834 w 7512296"/>
              <a:gd name="connsiteY5" fmla="*/ 3206750 h 6433966"/>
              <a:gd name="connsiteX0" fmla="*/ 1926 w 7512388"/>
              <a:gd name="connsiteY0" fmla="*/ 3206750 h 6401626"/>
              <a:gd name="connsiteX1" fmla="*/ 3757157 w 7512388"/>
              <a:gd name="connsiteY1" fmla="*/ 0 h 6401626"/>
              <a:gd name="connsiteX2" fmla="*/ 7512388 w 7512388"/>
              <a:gd name="connsiteY2" fmla="*/ 0 h 6401626"/>
              <a:gd name="connsiteX3" fmla="*/ 7512388 w 7512388"/>
              <a:gd name="connsiteY3" fmla="*/ 4548662 h 6401626"/>
              <a:gd name="connsiteX4" fmla="*/ 3317770 w 7512388"/>
              <a:gd name="connsiteY4" fmla="*/ 6401625 h 6401626"/>
              <a:gd name="connsiteX5" fmla="*/ 1926 w 7512388"/>
              <a:gd name="connsiteY5" fmla="*/ 3206750 h 6401626"/>
              <a:gd name="connsiteX0" fmla="*/ 2666 w 7513128"/>
              <a:gd name="connsiteY0" fmla="*/ 3206750 h 6425377"/>
              <a:gd name="connsiteX1" fmla="*/ 3757897 w 7513128"/>
              <a:gd name="connsiteY1" fmla="*/ 0 h 6425377"/>
              <a:gd name="connsiteX2" fmla="*/ 7513128 w 7513128"/>
              <a:gd name="connsiteY2" fmla="*/ 0 h 6425377"/>
              <a:gd name="connsiteX3" fmla="*/ 7513128 w 7513128"/>
              <a:gd name="connsiteY3" fmla="*/ 4548662 h 6425377"/>
              <a:gd name="connsiteX4" fmla="*/ 3247258 w 7513128"/>
              <a:gd name="connsiteY4" fmla="*/ 6425376 h 6425377"/>
              <a:gd name="connsiteX5" fmla="*/ 2666 w 7513128"/>
              <a:gd name="connsiteY5" fmla="*/ 3206750 h 6425377"/>
              <a:gd name="connsiteX0" fmla="*/ 2881 w 7513343"/>
              <a:gd name="connsiteY0" fmla="*/ 3206750 h 6425377"/>
              <a:gd name="connsiteX1" fmla="*/ 3758112 w 7513343"/>
              <a:gd name="connsiteY1" fmla="*/ 0 h 6425377"/>
              <a:gd name="connsiteX2" fmla="*/ 7513343 w 7513343"/>
              <a:gd name="connsiteY2" fmla="*/ 0 h 6425377"/>
              <a:gd name="connsiteX3" fmla="*/ 7513343 w 7513343"/>
              <a:gd name="connsiteY3" fmla="*/ 4548662 h 6425377"/>
              <a:gd name="connsiteX4" fmla="*/ 3247473 w 7513343"/>
              <a:gd name="connsiteY4" fmla="*/ 6425376 h 6425377"/>
              <a:gd name="connsiteX5" fmla="*/ 2881 w 7513343"/>
              <a:gd name="connsiteY5" fmla="*/ 3206750 h 6425377"/>
              <a:gd name="connsiteX0" fmla="*/ 2847 w 7513309"/>
              <a:gd name="connsiteY0" fmla="*/ 3206750 h 6425377"/>
              <a:gd name="connsiteX1" fmla="*/ 3758078 w 7513309"/>
              <a:gd name="connsiteY1" fmla="*/ 0 h 6425377"/>
              <a:gd name="connsiteX2" fmla="*/ 7513309 w 7513309"/>
              <a:gd name="connsiteY2" fmla="*/ 0 h 6425377"/>
              <a:gd name="connsiteX3" fmla="*/ 7513309 w 7513309"/>
              <a:gd name="connsiteY3" fmla="*/ 4548662 h 6425377"/>
              <a:gd name="connsiteX4" fmla="*/ 3247439 w 7513309"/>
              <a:gd name="connsiteY4" fmla="*/ 6425376 h 6425377"/>
              <a:gd name="connsiteX5" fmla="*/ 2847 w 7513309"/>
              <a:gd name="connsiteY5" fmla="*/ 3206750 h 6425377"/>
              <a:gd name="connsiteX0" fmla="*/ 2936 w 7513398"/>
              <a:gd name="connsiteY0" fmla="*/ 3206750 h 6425377"/>
              <a:gd name="connsiteX1" fmla="*/ 3758167 w 7513398"/>
              <a:gd name="connsiteY1" fmla="*/ 0 h 6425377"/>
              <a:gd name="connsiteX2" fmla="*/ 7513398 w 7513398"/>
              <a:gd name="connsiteY2" fmla="*/ 0 h 6425377"/>
              <a:gd name="connsiteX3" fmla="*/ 7513398 w 7513398"/>
              <a:gd name="connsiteY3" fmla="*/ 4548662 h 6425377"/>
              <a:gd name="connsiteX4" fmla="*/ 3247528 w 7513398"/>
              <a:gd name="connsiteY4" fmla="*/ 6425376 h 6425377"/>
              <a:gd name="connsiteX5" fmla="*/ 2936 w 7513398"/>
              <a:gd name="connsiteY5" fmla="*/ 3206750 h 6425377"/>
              <a:gd name="connsiteX0" fmla="*/ 113356 w 7623818"/>
              <a:gd name="connsiteY0" fmla="*/ 3206750 h 6425377"/>
              <a:gd name="connsiteX1" fmla="*/ 1909159 w 7623818"/>
              <a:gd name="connsiteY1" fmla="*/ 11876 h 6425377"/>
              <a:gd name="connsiteX2" fmla="*/ 7623818 w 7623818"/>
              <a:gd name="connsiteY2" fmla="*/ 0 h 6425377"/>
              <a:gd name="connsiteX3" fmla="*/ 7623818 w 7623818"/>
              <a:gd name="connsiteY3" fmla="*/ 4548662 h 6425377"/>
              <a:gd name="connsiteX4" fmla="*/ 3357948 w 7623818"/>
              <a:gd name="connsiteY4" fmla="*/ 6425376 h 6425377"/>
              <a:gd name="connsiteX5" fmla="*/ 113356 w 7623818"/>
              <a:gd name="connsiteY5" fmla="*/ 3206750 h 6425377"/>
              <a:gd name="connsiteX0" fmla="*/ 48773 w 7559235"/>
              <a:gd name="connsiteY0" fmla="*/ 3206750 h 6425377"/>
              <a:gd name="connsiteX1" fmla="*/ 1844576 w 7559235"/>
              <a:gd name="connsiteY1" fmla="*/ 11876 h 6425377"/>
              <a:gd name="connsiteX2" fmla="*/ 7559235 w 7559235"/>
              <a:gd name="connsiteY2" fmla="*/ 0 h 6425377"/>
              <a:gd name="connsiteX3" fmla="*/ 7559235 w 7559235"/>
              <a:gd name="connsiteY3" fmla="*/ 4548662 h 6425377"/>
              <a:gd name="connsiteX4" fmla="*/ 3293365 w 7559235"/>
              <a:gd name="connsiteY4" fmla="*/ 6425376 h 6425377"/>
              <a:gd name="connsiteX5" fmla="*/ 48773 w 7559235"/>
              <a:gd name="connsiteY5" fmla="*/ 3206750 h 6425377"/>
              <a:gd name="connsiteX0" fmla="*/ 28 w 7510490"/>
              <a:gd name="connsiteY0" fmla="*/ 3206750 h 6425377"/>
              <a:gd name="connsiteX1" fmla="*/ 1795831 w 7510490"/>
              <a:gd name="connsiteY1" fmla="*/ 11876 h 6425377"/>
              <a:gd name="connsiteX2" fmla="*/ 7510490 w 7510490"/>
              <a:gd name="connsiteY2" fmla="*/ 0 h 6425377"/>
              <a:gd name="connsiteX3" fmla="*/ 7510490 w 7510490"/>
              <a:gd name="connsiteY3" fmla="*/ 4548662 h 6425377"/>
              <a:gd name="connsiteX4" fmla="*/ 3244620 w 7510490"/>
              <a:gd name="connsiteY4" fmla="*/ 6425376 h 6425377"/>
              <a:gd name="connsiteX5" fmla="*/ 28 w 7510490"/>
              <a:gd name="connsiteY5" fmla="*/ 3206750 h 6425377"/>
              <a:gd name="connsiteX0" fmla="*/ 169 w 7510631"/>
              <a:gd name="connsiteY0" fmla="*/ 3206750 h 6425377"/>
              <a:gd name="connsiteX1" fmla="*/ 1795972 w 7510631"/>
              <a:gd name="connsiteY1" fmla="*/ 11876 h 6425377"/>
              <a:gd name="connsiteX2" fmla="*/ 7510631 w 7510631"/>
              <a:gd name="connsiteY2" fmla="*/ 0 h 6425377"/>
              <a:gd name="connsiteX3" fmla="*/ 7510631 w 7510631"/>
              <a:gd name="connsiteY3" fmla="*/ 4548662 h 6425377"/>
              <a:gd name="connsiteX4" fmla="*/ 3244761 w 7510631"/>
              <a:gd name="connsiteY4" fmla="*/ 6425376 h 6425377"/>
              <a:gd name="connsiteX5" fmla="*/ 169 w 7510631"/>
              <a:gd name="connsiteY5" fmla="*/ 3206750 h 6425377"/>
              <a:gd name="connsiteX0" fmla="*/ 28 w 7510490"/>
              <a:gd name="connsiteY0" fmla="*/ 3206750 h 6425377"/>
              <a:gd name="connsiteX1" fmla="*/ 1795831 w 7510490"/>
              <a:gd name="connsiteY1" fmla="*/ 11876 h 6425377"/>
              <a:gd name="connsiteX2" fmla="*/ 7510490 w 7510490"/>
              <a:gd name="connsiteY2" fmla="*/ 0 h 6425377"/>
              <a:gd name="connsiteX3" fmla="*/ 7510490 w 7510490"/>
              <a:gd name="connsiteY3" fmla="*/ 4548662 h 6425377"/>
              <a:gd name="connsiteX4" fmla="*/ 3244620 w 7510490"/>
              <a:gd name="connsiteY4" fmla="*/ 6425376 h 6425377"/>
              <a:gd name="connsiteX5" fmla="*/ 28 w 7510490"/>
              <a:gd name="connsiteY5" fmla="*/ 3206750 h 6425377"/>
              <a:gd name="connsiteX0" fmla="*/ 33 w 7510495"/>
              <a:gd name="connsiteY0" fmla="*/ 3206750 h 6425632"/>
              <a:gd name="connsiteX1" fmla="*/ 1795836 w 7510495"/>
              <a:gd name="connsiteY1" fmla="*/ 11876 h 6425632"/>
              <a:gd name="connsiteX2" fmla="*/ 7510495 w 7510495"/>
              <a:gd name="connsiteY2" fmla="*/ 0 h 6425632"/>
              <a:gd name="connsiteX3" fmla="*/ 7510495 w 7510495"/>
              <a:gd name="connsiteY3" fmla="*/ 4548662 h 6425632"/>
              <a:gd name="connsiteX4" fmla="*/ 3244625 w 7510495"/>
              <a:gd name="connsiteY4" fmla="*/ 6425376 h 6425632"/>
              <a:gd name="connsiteX5" fmla="*/ 33 w 7510495"/>
              <a:gd name="connsiteY5" fmla="*/ 3206750 h 6425632"/>
              <a:gd name="connsiteX0" fmla="*/ 32 w 7510494"/>
              <a:gd name="connsiteY0" fmla="*/ 3206750 h 6427368"/>
              <a:gd name="connsiteX1" fmla="*/ 1795835 w 7510494"/>
              <a:gd name="connsiteY1" fmla="*/ 11876 h 6427368"/>
              <a:gd name="connsiteX2" fmla="*/ 7510494 w 7510494"/>
              <a:gd name="connsiteY2" fmla="*/ 0 h 6427368"/>
              <a:gd name="connsiteX3" fmla="*/ 7510494 w 7510494"/>
              <a:gd name="connsiteY3" fmla="*/ 4548662 h 6427368"/>
              <a:gd name="connsiteX4" fmla="*/ 3244624 w 7510494"/>
              <a:gd name="connsiteY4" fmla="*/ 6425376 h 6427368"/>
              <a:gd name="connsiteX5" fmla="*/ 32 w 7510494"/>
              <a:gd name="connsiteY5" fmla="*/ 3206750 h 6427368"/>
              <a:gd name="connsiteX0" fmla="*/ 47590 w 7558052"/>
              <a:gd name="connsiteY0" fmla="*/ 3218624 h 6439018"/>
              <a:gd name="connsiteX1" fmla="*/ 1855268 w 7558052"/>
              <a:gd name="connsiteY1" fmla="*/ 0 h 6439018"/>
              <a:gd name="connsiteX2" fmla="*/ 7558052 w 7558052"/>
              <a:gd name="connsiteY2" fmla="*/ 11874 h 6439018"/>
              <a:gd name="connsiteX3" fmla="*/ 7558052 w 7558052"/>
              <a:gd name="connsiteY3" fmla="*/ 4560536 h 6439018"/>
              <a:gd name="connsiteX4" fmla="*/ 3292182 w 7558052"/>
              <a:gd name="connsiteY4" fmla="*/ 6437250 h 6439018"/>
              <a:gd name="connsiteX5" fmla="*/ 47590 w 7558052"/>
              <a:gd name="connsiteY5" fmla="*/ 3218624 h 6439018"/>
              <a:gd name="connsiteX0" fmla="*/ 45228 w 7555690"/>
              <a:gd name="connsiteY0" fmla="*/ 3218624 h 6439018"/>
              <a:gd name="connsiteX1" fmla="*/ 1852906 w 7555690"/>
              <a:gd name="connsiteY1" fmla="*/ 0 h 6439018"/>
              <a:gd name="connsiteX2" fmla="*/ 7555690 w 7555690"/>
              <a:gd name="connsiteY2" fmla="*/ 11874 h 6439018"/>
              <a:gd name="connsiteX3" fmla="*/ 7555690 w 7555690"/>
              <a:gd name="connsiteY3" fmla="*/ 4560536 h 6439018"/>
              <a:gd name="connsiteX4" fmla="*/ 3242319 w 7555690"/>
              <a:gd name="connsiteY4" fmla="*/ 6437250 h 6439018"/>
              <a:gd name="connsiteX5" fmla="*/ 45228 w 7555690"/>
              <a:gd name="connsiteY5" fmla="*/ 3218624 h 6439018"/>
              <a:gd name="connsiteX0" fmla="*/ 45228 w 7555690"/>
              <a:gd name="connsiteY0" fmla="*/ 3218624 h 6437316"/>
              <a:gd name="connsiteX1" fmla="*/ 1852906 w 7555690"/>
              <a:gd name="connsiteY1" fmla="*/ 0 h 6437316"/>
              <a:gd name="connsiteX2" fmla="*/ 7555690 w 7555690"/>
              <a:gd name="connsiteY2" fmla="*/ 11874 h 6437316"/>
              <a:gd name="connsiteX3" fmla="*/ 7555690 w 7555690"/>
              <a:gd name="connsiteY3" fmla="*/ 4560536 h 6437316"/>
              <a:gd name="connsiteX4" fmla="*/ 3242319 w 7555690"/>
              <a:gd name="connsiteY4" fmla="*/ 6437250 h 6437316"/>
              <a:gd name="connsiteX5" fmla="*/ 45228 w 7555690"/>
              <a:gd name="connsiteY5" fmla="*/ 3218624 h 6437316"/>
              <a:gd name="connsiteX0" fmla="*/ 44643 w 7555105"/>
              <a:gd name="connsiteY0" fmla="*/ 3218624 h 6437316"/>
              <a:gd name="connsiteX1" fmla="*/ 1852321 w 7555105"/>
              <a:gd name="connsiteY1" fmla="*/ 0 h 6437316"/>
              <a:gd name="connsiteX2" fmla="*/ 7555105 w 7555105"/>
              <a:gd name="connsiteY2" fmla="*/ 11874 h 6437316"/>
              <a:gd name="connsiteX3" fmla="*/ 7555105 w 7555105"/>
              <a:gd name="connsiteY3" fmla="*/ 4560536 h 6437316"/>
              <a:gd name="connsiteX4" fmla="*/ 3229859 w 7555105"/>
              <a:gd name="connsiteY4" fmla="*/ 6437250 h 6437316"/>
              <a:gd name="connsiteX5" fmla="*/ 44643 w 7555105"/>
              <a:gd name="connsiteY5" fmla="*/ 3218624 h 6437316"/>
              <a:gd name="connsiteX0" fmla="*/ 45201 w 7543787"/>
              <a:gd name="connsiteY0" fmla="*/ 3230499 h 6468500"/>
              <a:gd name="connsiteX1" fmla="*/ 1841003 w 7543787"/>
              <a:gd name="connsiteY1" fmla="*/ 0 h 6468500"/>
              <a:gd name="connsiteX2" fmla="*/ 7543787 w 7543787"/>
              <a:gd name="connsiteY2" fmla="*/ 11874 h 6468500"/>
              <a:gd name="connsiteX3" fmla="*/ 7543787 w 7543787"/>
              <a:gd name="connsiteY3" fmla="*/ 4560536 h 6468500"/>
              <a:gd name="connsiteX4" fmla="*/ 3218541 w 7543787"/>
              <a:gd name="connsiteY4" fmla="*/ 6437250 h 6468500"/>
              <a:gd name="connsiteX5" fmla="*/ 45201 w 7543787"/>
              <a:gd name="connsiteY5" fmla="*/ 3230499 h 6468500"/>
              <a:gd name="connsiteX0" fmla="*/ 1195 w 7499781"/>
              <a:gd name="connsiteY0" fmla="*/ 3230499 h 6468500"/>
              <a:gd name="connsiteX1" fmla="*/ 1796997 w 7499781"/>
              <a:gd name="connsiteY1" fmla="*/ 0 h 6468500"/>
              <a:gd name="connsiteX2" fmla="*/ 7499781 w 7499781"/>
              <a:gd name="connsiteY2" fmla="*/ 11874 h 6468500"/>
              <a:gd name="connsiteX3" fmla="*/ 7499781 w 7499781"/>
              <a:gd name="connsiteY3" fmla="*/ 4560536 h 6468500"/>
              <a:gd name="connsiteX4" fmla="*/ 3174535 w 7499781"/>
              <a:gd name="connsiteY4" fmla="*/ 6437250 h 6468500"/>
              <a:gd name="connsiteX5" fmla="*/ 1195 w 7499781"/>
              <a:gd name="connsiteY5" fmla="*/ 3230499 h 6468500"/>
              <a:gd name="connsiteX0" fmla="*/ 28 w 7498614"/>
              <a:gd name="connsiteY0" fmla="*/ 3230499 h 6468500"/>
              <a:gd name="connsiteX1" fmla="*/ 1795830 w 7498614"/>
              <a:gd name="connsiteY1" fmla="*/ 0 h 6468500"/>
              <a:gd name="connsiteX2" fmla="*/ 7498614 w 7498614"/>
              <a:gd name="connsiteY2" fmla="*/ 11874 h 6468500"/>
              <a:gd name="connsiteX3" fmla="*/ 7498614 w 7498614"/>
              <a:gd name="connsiteY3" fmla="*/ 4560536 h 6468500"/>
              <a:gd name="connsiteX4" fmla="*/ 3173368 w 7498614"/>
              <a:gd name="connsiteY4" fmla="*/ 6437250 h 6468500"/>
              <a:gd name="connsiteX5" fmla="*/ 28 w 7498614"/>
              <a:gd name="connsiteY5" fmla="*/ 3230499 h 6468500"/>
              <a:gd name="connsiteX0" fmla="*/ 28 w 7498614"/>
              <a:gd name="connsiteY0" fmla="*/ 3230499 h 6468500"/>
              <a:gd name="connsiteX1" fmla="*/ 1795830 w 7498614"/>
              <a:gd name="connsiteY1" fmla="*/ 0 h 6468500"/>
              <a:gd name="connsiteX2" fmla="*/ 7498614 w 7498614"/>
              <a:gd name="connsiteY2" fmla="*/ 11874 h 6468500"/>
              <a:gd name="connsiteX3" fmla="*/ 7498614 w 7498614"/>
              <a:gd name="connsiteY3" fmla="*/ 4560536 h 6468500"/>
              <a:gd name="connsiteX4" fmla="*/ 3173368 w 7498614"/>
              <a:gd name="connsiteY4" fmla="*/ 6437250 h 6468500"/>
              <a:gd name="connsiteX5" fmla="*/ 28 w 7498614"/>
              <a:gd name="connsiteY5" fmla="*/ 3230499 h 6468500"/>
              <a:gd name="connsiteX0" fmla="*/ 46977 w 7545563"/>
              <a:gd name="connsiteY0" fmla="*/ 3230499 h 6238451"/>
              <a:gd name="connsiteX1" fmla="*/ 1842779 w 7545563"/>
              <a:gd name="connsiteY1" fmla="*/ 0 h 6238451"/>
              <a:gd name="connsiteX2" fmla="*/ 7545563 w 7545563"/>
              <a:gd name="connsiteY2" fmla="*/ 11874 h 6238451"/>
              <a:gd name="connsiteX3" fmla="*/ 7545563 w 7545563"/>
              <a:gd name="connsiteY3" fmla="*/ 4560536 h 6238451"/>
              <a:gd name="connsiteX4" fmla="*/ 3255943 w 7545563"/>
              <a:gd name="connsiteY4" fmla="*/ 6199743 h 6238451"/>
              <a:gd name="connsiteX5" fmla="*/ 46977 w 7545563"/>
              <a:gd name="connsiteY5" fmla="*/ 3230499 h 6238451"/>
              <a:gd name="connsiteX0" fmla="*/ 47574 w 7546160"/>
              <a:gd name="connsiteY0" fmla="*/ 3230499 h 6445368"/>
              <a:gd name="connsiteX1" fmla="*/ 1843376 w 7546160"/>
              <a:gd name="connsiteY1" fmla="*/ 0 h 6445368"/>
              <a:gd name="connsiteX2" fmla="*/ 7546160 w 7546160"/>
              <a:gd name="connsiteY2" fmla="*/ 11874 h 6445368"/>
              <a:gd name="connsiteX3" fmla="*/ 7546160 w 7546160"/>
              <a:gd name="connsiteY3" fmla="*/ 4560536 h 6445368"/>
              <a:gd name="connsiteX4" fmla="*/ 3268415 w 7546160"/>
              <a:gd name="connsiteY4" fmla="*/ 6413499 h 6445368"/>
              <a:gd name="connsiteX5" fmla="*/ 47574 w 7546160"/>
              <a:gd name="connsiteY5" fmla="*/ 3230499 h 6445368"/>
              <a:gd name="connsiteX0" fmla="*/ 47574 w 7546160"/>
              <a:gd name="connsiteY0" fmla="*/ 3230499 h 6413560"/>
              <a:gd name="connsiteX1" fmla="*/ 1843376 w 7546160"/>
              <a:gd name="connsiteY1" fmla="*/ 0 h 6413560"/>
              <a:gd name="connsiteX2" fmla="*/ 7546160 w 7546160"/>
              <a:gd name="connsiteY2" fmla="*/ 11874 h 6413560"/>
              <a:gd name="connsiteX3" fmla="*/ 7546160 w 7546160"/>
              <a:gd name="connsiteY3" fmla="*/ 4560536 h 6413560"/>
              <a:gd name="connsiteX4" fmla="*/ 3268415 w 7546160"/>
              <a:gd name="connsiteY4" fmla="*/ 6413499 h 6413560"/>
              <a:gd name="connsiteX5" fmla="*/ 47574 w 7546160"/>
              <a:gd name="connsiteY5" fmla="*/ 3230499 h 6413560"/>
              <a:gd name="connsiteX0" fmla="*/ 0 w 7498586"/>
              <a:gd name="connsiteY0" fmla="*/ 3230499 h 6413560"/>
              <a:gd name="connsiteX1" fmla="*/ 1795802 w 7498586"/>
              <a:gd name="connsiteY1" fmla="*/ 0 h 6413560"/>
              <a:gd name="connsiteX2" fmla="*/ 7498586 w 7498586"/>
              <a:gd name="connsiteY2" fmla="*/ 11874 h 6413560"/>
              <a:gd name="connsiteX3" fmla="*/ 7498586 w 7498586"/>
              <a:gd name="connsiteY3" fmla="*/ 4560536 h 6413560"/>
              <a:gd name="connsiteX4" fmla="*/ 3220841 w 7498586"/>
              <a:gd name="connsiteY4" fmla="*/ 6413499 h 6413560"/>
              <a:gd name="connsiteX5" fmla="*/ 0 w 7498586"/>
              <a:gd name="connsiteY5" fmla="*/ 3230499 h 6413560"/>
              <a:gd name="connsiteX0" fmla="*/ 0 w 7498586"/>
              <a:gd name="connsiteY0" fmla="*/ 3230499 h 6413560"/>
              <a:gd name="connsiteX1" fmla="*/ 1795802 w 7498586"/>
              <a:gd name="connsiteY1" fmla="*/ 0 h 6413560"/>
              <a:gd name="connsiteX2" fmla="*/ 7498586 w 7498586"/>
              <a:gd name="connsiteY2" fmla="*/ 11874 h 6413560"/>
              <a:gd name="connsiteX3" fmla="*/ 7498586 w 7498586"/>
              <a:gd name="connsiteY3" fmla="*/ 4560536 h 6413560"/>
              <a:gd name="connsiteX4" fmla="*/ 3220841 w 7498586"/>
              <a:gd name="connsiteY4" fmla="*/ 6413499 h 6413560"/>
              <a:gd name="connsiteX5" fmla="*/ 0 w 7498586"/>
              <a:gd name="connsiteY5" fmla="*/ 3230499 h 6413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8586" h="6413560">
                <a:moveTo>
                  <a:pt x="0" y="3230499"/>
                </a:moveTo>
                <a:cubicBezTo>
                  <a:pt x="0" y="1627194"/>
                  <a:pt x="564993" y="783772"/>
                  <a:pt x="1795802" y="0"/>
                </a:cubicBezTo>
                <a:lnTo>
                  <a:pt x="7498586" y="11874"/>
                </a:lnTo>
                <a:lnTo>
                  <a:pt x="7498586" y="4560536"/>
                </a:lnTo>
                <a:cubicBezTo>
                  <a:pt x="5646035" y="5666557"/>
                  <a:pt x="5052496" y="6421416"/>
                  <a:pt x="3220841" y="6413499"/>
                </a:cubicBezTo>
                <a:cubicBezTo>
                  <a:pt x="1389186" y="6405582"/>
                  <a:pt x="0" y="4833804"/>
                  <a:pt x="0" y="3230499"/>
                </a:cubicBezTo>
                <a:close/>
              </a:path>
            </a:pathLst>
          </a:custGeom>
          <a:solidFill>
            <a:schemeClr val="accent1">
              <a:alpha val="15000"/>
            </a:schemeClr>
          </a:solidFill>
        </p:spPr>
        <p:txBody>
          <a:bodyPr/>
          <a:lstStyle>
            <a:lvl1pPr algn="ctr">
              <a:defRPr/>
            </a:lvl1pPr>
          </a:lstStyle>
          <a:p>
            <a:endParaRPr lang="en-GB" dirty="0"/>
          </a:p>
        </p:txBody>
      </p:sp>
      <p:sp>
        <p:nvSpPr>
          <p:cNvPr id="2" name="Title 1"/>
          <p:cNvSpPr>
            <a:spLocks noGrp="1"/>
          </p:cNvSpPr>
          <p:nvPr>
            <p:ph type="ctrTitle"/>
          </p:nvPr>
        </p:nvSpPr>
        <p:spPr>
          <a:xfrm>
            <a:off x="468000" y="457200"/>
            <a:ext cx="5155200" cy="457200"/>
          </a:xfrm>
        </p:spPr>
        <p:txBody>
          <a:bodyPr vert="horz" lIns="0" tIns="0" rIns="0" bIns="0" rtlCol="0" anchor="t" anchorCtr="0">
            <a:noAutofit/>
          </a:bodyPr>
          <a:lstStyle>
            <a:lvl1pPr algn="l">
              <a:lnSpc>
                <a:spcPts val="2120"/>
              </a:lnSpc>
              <a:defRPr lang="en-GB" noProof="0" dirty="0"/>
            </a:lvl1pPr>
          </a:lstStyle>
          <a:p>
            <a:pPr lvl="0"/>
            <a:r>
              <a:rPr lang="en-US" noProof="0" dirty="0"/>
              <a:t>Click to edit Master title style</a:t>
            </a:r>
            <a:endParaRPr lang="en-GB" noProof="0" dirty="0"/>
          </a:p>
        </p:txBody>
      </p:sp>
      <p:sp>
        <p:nvSpPr>
          <p:cNvPr id="6" name="Footer Placeholder 5">
            <a:extLst>
              <a:ext uri="{FF2B5EF4-FFF2-40B4-BE49-F238E27FC236}">
                <a16:creationId xmlns:a16="http://schemas.microsoft.com/office/drawing/2014/main" id="{184F4E7D-A950-4778-8BC5-6A7D69AFC0FB}"/>
              </a:ext>
            </a:extLst>
          </p:cNvPr>
          <p:cNvSpPr>
            <a:spLocks noGrp="1"/>
          </p:cNvSpPr>
          <p:nvPr>
            <p:ph type="ftr" sz="quarter" idx="13"/>
          </p:nvPr>
        </p:nvSpPr>
        <p:spPr/>
        <p:txBody>
          <a:bodyPr/>
          <a:lstStyle/>
          <a:p>
            <a:pPr algn="l">
              <a:lnSpc>
                <a:spcPts val="970"/>
              </a:lnSpc>
            </a:pPr>
            <a:r>
              <a:rPr lang="en-GB" dirty="0"/>
              <a:t>© Colt Technology Services  |  Presentation title here</a:t>
            </a:r>
          </a:p>
        </p:txBody>
      </p:sp>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sp>
        <p:nvSpPr>
          <p:cNvPr id="10" name="Text Placeholder 9">
            <a:extLst>
              <a:ext uri="{FF2B5EF4-FFF2-40B4-BE49-F238E27FC236}">
                <a16:creationId xmlns:a16="http://schemas.microsoft.com/office/drawing/2014/main" id="{40C6BB52-481B-46AE-9210-2C30607BF2FD}"/>
              </a:ext>
            </a:extLst>
          </p:cNvPr>
          <p:cNvSpPr>
            <a:spLocks noGrp="1"/>
          </p:cNvSpPr>
          <p:nvPr>
            <p:ph type="body" sz="quarter" idx="15"/>
          </p:nvPr>
        </p:nvSpPr>
        <p:spPr>
          <a:xfrm>
            <a:off x="468313" y="1224000"/>
            <a:ext cx="4224337" cy="3348037"/>
          </a:xfrm>
        </p:spPr>
        <p:txBody>
          <a:bodyPr/>
          <a:lstStyle>
            <a:lvl1pPr>
              <a:lnSpc>
                <a:spcPts val="6800"/>
              </a:lnSpc>
              <a:spcAft>
                <a:spcPts val="0"/>
              </a:spcAft>
              <a:defRPr sz="5890"/>
            </a:lvl1pPr>
          </a:lstStyle>
          <a:p>
            <a:pPr lvl="0"/>
            <a:r>
              <a:rPr lang="en-US" dirty="0"/>
              <a:t>Click to edit Master text styles</a:t>
            </a:r>
            <a:endParaRPr lang="en-GB" dirty="0"/>
          </a:p>
        </p:txBody>
      </p:sp>
      <p:grpSp>
        <p:nvGrpSpPr>
          <p:cNvPr id="8" name="Group 7">
            <a:extLst>
              <a:ext uri="{FF2B5EF4-FFF2-40B4-BE49-F238E27FC236}">
                <a16:creationId xmlns:a16="http://schemas.microsoft.com/office/drawing/2014/main" id="{4F122947-FC42-0B49-B8EB-983A1828A5F2}"/>
              </a:ext>
            </a:extLst>
          </p:cNvPr>
          <p:cNvGrpSpPr/>
          <p:nvPr userDrawn="1"/>
        </p:nvGrpSpPr>
        <p:grpSpPr>
          <a:xfrm>
            <a:off x="4481600" y="0"/>
            <a:ext cx="7731569" cy="6899822"/>
            <a:chOff x="1639888" y="5257800"/>
            <a:chExt cx="649287" cy="579438"/>
          </a:xfrm>
        </p:grpSpPr>
        <p:sp>
          <p:nvSpPr>
            <p:cNvPr id="9" name="Freeform 128">
              <a:extLst>
                <a:ext uri="{FF2B5EF4-FFF2-40B4-BE49-F238E27FC236}">
                  <a16:creationId xmlns:a16="http://schemas.microsoft.com/office/drawing/2014/main" id="{325003AB-491A-A547-8294-FDFB3099805E}"/>
                </a:ext>
              </a:extLst>
            </p:cNvPr>
            <p:cNvSpPr>
              <a:spLocks noChangeArrowheads="1"/>
            </p:cNvSpPr>
            <p:nvPr/>
          </p:nvSpPr>
          <p:spPr bwMode="auto">
            <a:xfrm>
              <a:off x="2197100" y="5545138"/>
              <a:ext cx="92075" cy="157162"/>
            </a:xfrm>
            <a:custGeom>
              <a:avLst/>
              <a:gdLst>
                <a:gd name="T0" fmla="*/ 139 w 257"/>
                <a:gd name="T1" fmla="*/ 31 h 438"/>
                <a:gd name="T2" fmla="*/ 59 w 257"/>
                <a:gd name="T3" fmla="*/ 326 h 438"/>
                <a:gd name="T4" fmla="*/ 256 w 257"/>
                <a:gd name="T5" fmla="*/ 433 h 438"/>
                <a:gd name="T6" fmla="*/ 256 w 257"/>
                <a:gd name="T7" fmla="*/ 2 h 438"/>
                <a:gd name="T8" fmla="*/ 139 w 257"/>
                <a:gd name="T9" fmla="*/ 31 h 438"/>
              </a:gdLst>
              <a:ahLst/>
              <a:cxnLst>
                <a:cxn ang="0">
                  <a:pos x="T0" y="T1"/>
                </a:cxn>
                <a:cxn ang="0">
                  <a:pos x="T2" y="T3"/>
                </a:cxn>
                <a:cxn ang="0">
                  <a:pos x="T4" y="T5"/>
                </a:cxn>
                <a:cxn ang="0">
                  <a:pos x="T6" y="T7"/>
                </a:cxn>
                <a:cxn ang="0">
                  <a:pos x="T8" y="T9"/>
                </a:cxn>
              </a:cxnLst>
              <a:rect l="0" t="0" r="r" b="b"/>
              <a:pathLst>
                <a:path w="257" h="438">
                  <a:moveTo>
                    <a:pt x="139" y="31"/>
                  </a:moveTo>
                  <a:cubicBezTo>
                    <a:pt x="35" y="90"/>
                    <a:pt x="0" y="222"/>
                    <a:pt x="59" y="326"/>
                  </a:cubicBezTo>
                  <a:cubicBezTo>
                    <a:pt x="101" y="398"/>
                    <a:pt x="178" y="437"/>
                    <a:pt x="256" y="433"/>
                  </a:cubicBezTo>
                  <a:lnTo>
                    <a:pt x="256" y="2"/>
                  </a:lnTo>
                  <a:cubicBezTo>
                    <a:pt x="217" y="0"/>
                    <a:pt x="176" y="9"/>
                    <a:pt x="139" y="31"/>
                  </a:cubicBezTo>
                </a:path>
              </a:pathLst>
            </a:custGeom>
            <a:solidFill>
              <a:srgbClr val="00E6C7">
                <a:alpha val="70000"/>
              </a:srgb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2" name="Freeform 129">
              <a:extLst>
                <a:ext uri="{FF2B5EF4-FFF2-40B4-BE49-F238E27FC236}">
                  <a16:creationId xmlns:a16="http://schemas.microsoft.com/office/drawing/2014/main" id="{C6AC55AE-3942-1C40-A820-EA8744B5C155}"/>
                </a:ext>
              </a:extLst>
            </p:cNvPr>
            <p:cNvSpPr>
              <a:spLocks noChangeArrowheads="1"/>
            </p:cNvSpPr>
            <p:nvPr/>
          </p:nvSpPr>
          <p:spPr bwMode="auto">
            <a:xfrm>
              <a:off x="1639888" y="5257800"/>
              <a:ext cx="174625" cy="131763"/>
            </a:xfrm>
            <a:custGeom>
              <a:avLst/>
              <a:gdLst>
                <a:gd name="T0" fmla="*/ 50 w 484"/>
                <a:gd name="T1" fmla="*/ 259 h 368"/>
                <a:gd name="T2" fmla="*/ 237 w 484"/>
                <a:gd name="T3" fmla="*/ 367 h 368"/>
                <a:gd name="T4" fmla="*/ 345 w 484"/>
                <a:gd name="T5" fmla="*/ 338 h 368"/>
                <a:gd name="T6" fmla="*/ 424 w 484"/>
                <a:gd name="T7" fmla="*/ 43 h 368"/>
                <a:gd name="T8" fmla="*/ 391 w 484"/>
                <a:gd name="T9" fmla="*/ 0 h 368"/>
                <a:gd name="T10" fmla="*/ 83 w 484"/>
                <a:gd name="T11" fmla="*/ 0 h 368"/>
                <a:gd name="T12" fmla="*/ 50 w 484"/>
                <a:gd name="T13" fmla="*/ 259 h 368"/>
                <a:gd name="T14" fmla="*/ 91 w 484"/>
                <a:gd name="T15" fmla="*/ 112 h 368"/>
                <a:gd name="T16" fmla="*/ 161 w 484"/>
                <a:gd name="T17" fmla="*/ 21 h 368"/>
                <a:gd name="T18" fmla="*/ 237 w 484"/>
                <a:gd name="T19" fmla="*/ 1 h 368"/>
                <a:gd name="T20" fmla="*/ 237 w 484"/>
                <a:gd name="T21" fmla="*/ 1 h 368"/>
                <a:gd name="T22" fmla="*/ 367 w 484"/>
                <a:gd name="T23" fmla="*/ 76 h 368"/>
                <a:gd name="T24" fmla="*/ 382 w 484"/>
                <a:gd name="T25" fmla="*/ 190 h 368"/>
                <a:gd name="T26" fmla="*/ 312 w 484"/>
                <a:gd name="T27" fmla="*/ 282 h 368"/>
                <a:gd name="T28" fmla="*/ 237 w 484"/>
                <a:gd name="T29" fmla="*/ 302 h 368"/>
                <a:gd name="T30" fmla="*/ 106 w 484"/>
                <a:gd name="T31" fmla="*/ 227 h 368"/>
                <a:gd name="T32" fmla="*/ 91 w 484"/>
                <a:gd name="T33"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368">
                  <a:moveTo>
                    <a:pt x="50" y="259"/>
                  </a:moveTo>
                  <a:cubicBezTo>
                    <a:pt x="90" y="329"/>
                    <a:pt x="162" y="367"/>
                    <a:pt x="237" y="367"/>
                  </a:cubicBezTo>
                  <a:cubicBezTo>
                    <a:pt x="274" y="367"/>
                    <a:pt x="311" y="358"/>
                    <a:pt x="345" y="338"/>
                  </a:cubicBezTo>
                  <a:cubicBezTo>
                    <a:pt x="448" y="279"/>
                    <a:pt x="483" y="147"/>
                    <a:pt x="424" y="43"/>
                  </a:cubicBezTo>
                  <a:cubicBezTo>
                    <a:pt x="414" y="27"/>
                    <a:pt x="403" y="13"/>
                    <a:pt x="391" y="0"/>
                  </a:cubicBezTo>
                  <a:lnTo>
                    <a:pt x="83" y="0"/>
                  </a:lnTo>
                  <a:cubicBezTo>
                    <a:pt x="16" y="67"/>
                    <a:pt x="0" y="173"/>
                    <a:pt x="50" y="259"/>
                  </a:cubicBezTo>
                  <a:close/>
                  <a:moveTo>
                    <a:pt x="91" y="112"/>
                  </a:moveTo>
                  <a:cubicBezTo>
                    <a:pt x="102" y="73"/>
                    <a:pt x="127" y="41"/>
                    <a:pt x="161" y="21"/>
                  </a:cubicBezTo>
                  <a:cubicBezTo>
                    <a:pt x="184" y="8"/>
                    <a:pt x="210" y="1"/>
                    <a:pt x="237" y="1"/>
                  </a:cubicBezTo>
                  <a:lnTo>
                    <a:pt x="237" y="1"/>
                  </a:lnTo>
                  <a:cubicBezTo>
                    <a:pt x="290" y="1"/>
                    <a:pt x="340" y="30"/>
                    <a:pt x="367" y="76"/>
                  </a:cubicBezTo>
                  <a:cubicBezTo>
                    <a:pt x="387" y="111"/>
                    <a:pt x="393" y="151"/>
                    <a:pt x="382" y="190"/>
                  </a:cubicBezTo>
                  <a:cubicBezTo>
                    <a:pt x="372" y="229"/>
                    <a:pt x="347" y="262"/>
                    <a:pt x="312" y="282"/>
                  </a:cubicBezTo>
                  <a:cubicBezTo>
                    <a:pt x="289" y="295"/>
                    <a:pt x="263" y="302"/>
                    <a:pt x="237" y="302"/>
                  </a:cubicBezTo>
                  <a:cubicBezTo>
                    <a:pt x="183" y="302"/>
                    <a:pt x="133" y="273"/>
                    <a:pt x="106" y="227"/>
                  </a:cubicBezTo>
                  <a:cubicBezTo>
                    <a:pt x="86" y="192"/>
                    <a:pt x="81" y="151"/>
                    <a:pt x="91" y="112"/>
                  </a:cubicBezTo>
                  <a:close/>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130">
              <a:extLst>
                <a:ext uri="{FF2B5EF4-FFF2-40B4-BE49-F238E27FC236}">
                  <a16:creationId xmlns:a16="http://schemas.microsoft.com/office/drawing/2014/main" id="{AAF2A540-04E2-454F-B889-3C5BEE459FD9}"/>
                </a:ext>
              </a:extLst>
            </p:cNvPr>
            <p:cNvSpPr>
              <a:spLocks noChangeArrowheads="1"/>
            </p:cNvSpPr>
            <p:nvPr/>
          </p:nvSpPr>
          <p:spPr bwMode="auto">
            <a:xfrm>
              <a:off x="1760538" y="5699125"/>
              <a:ext cx="323850" cy="138113"/>
            </a:xfrm>
            <a:custGeom>
              <a:avLst/>
              <a:gdLst>
                <a:gd name="T0" fmla="*/ 851 w 898"/>
                <a:gd name="T1" fmla="*/ 139 h 382"/>
                <a:gd name="T2" fmla="*/ 556 w 898"/>
                <a:gd name="T3" fmla="*/ 60 h 382"/>
                <a:gd name="T4" fmla="*/ 0 w 898"/>
                <a:gd name="T5" fmla="*/ 381 h 382"/>
                <a:gd name="T6" fmla="*/ 833 w 898"/>
                <a:gd name="T7" fmla="*/ 381 h 382"/>
                <a:gd name="T8" fmla="*/ 851 w 898"/>
                <a:gd name="T9" fmla="*/ 139 h 382"/>
              </a:gdLst>
              <a:ahLst/>
              <a:cxnLst>
                <a:cxn ang="0">
                  <a:pos x="T0" y="T1"/>
                </a:cxn>
                <a:cxn ang="0">
                  <a:pos x="T2" y="T3"/>
                </a:cxn>
                <a:cxn ang="0">
                  <a:pos x="T4" y="T5"/>
                </a:cxn>
                <a:cxn ang="0">
                  <a:pos x="T6" y="T7"/>
                </a:cxn>
                <a:cxn ang="0">
                  <a:pos x="T8" y="T9"/>
                </a:cxn>
              </a:cxnLst>
              <a:rect l="0" t="0" r="r" b="b"/>
              <a:pathLst>
                <a:path w="898" h="382">
                  <a:moveTo>
                    <a:pt x="851" y="139"/>
                  </a:moveTo>
                  <a:cubicBezTo>
                    <a:pt x="791" y="35"/>
                    <a:pt x="659" y="0"/>
                    <a:pt x="556" y="60"/>
                  </a:cubicBezTo>
                  <a:lnTo>
                    <a:pt x="0" y="381"/>
                  </a:lnTo>
                  <a:lnTo>
                    <a:pt x="833" y="381"/>
                  </a:lnTo>
                  <a:cubicBezTo>
                    <a:pt x="887" y="314"/>
                    <a:pt x="897" y="218"/>
                    <a:pt x="851" y="139"/>
                  </a:cubicBezTo>
                </a:path>
              </a:pathLst>
            </a:custGeom>
            <a:solidFill>
              <a:srgbClr val="00E6C7">
                <a:alpha val="40000"/>
              </a:srgb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2310456497"/>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Call-out + image v1a">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3C38C040-C7F5-455F-9FDF-D67805C679F1}"/>
              </a:ext>
            </a:extLst>
          </p:cNvPr>
          <p:cNvSpPr>
            <a:spLocks noGrp="1"/>
          </p:cNvSpPr>
          <p:nvPr>
            <p:ph type="pic" sz="quarter" idx="11"/>
          </p:nvPr>
        </p:nvSpPr>
        <p:spPr>
          <a:xfrm>
            <a:off x="4693414" y="-11873"/>
            <a:ext cx="7498586" cy="6413560"/>
          </a:xfrm>
          <a:custGeom>
            <a:avLst/>
            <a:gdLst>
              <a:gd name="connsiteX0" fmla="*/ 0 w 7510462"/>
              <a:gd name="connsiteY0" fmla="*/ 3206750 h 6413500"/>
              <a:gd name="connsiteX1" fmla="*/ 3755231 w 7510462"/>
              <a:gd name="connsiteY1" fmla="*/ 0 h 6413500"/>
              <a:gd name="connsiteX2" fmla="*/ 7510462 w 7510462"/>
              <a:gd name="connsiteY2" fmla="*/ 0 h 6413500"/>
              <a:gd name="connsiteX3" fmla="*/ 7510462 w 7510462"/>
              <a:gd name="connsiteY3" fmla="*/ 3206750 h 6413500"/>
              <a:gd name="connsiteX4" fmla="*/ 3755231 w 7510462"/>
              <a:gd name="connsiteY4" fmla="*/ 6413500 h 6413500"/>
              <a:gd name="connsiteX5" fmla="*/ 0 w 7510462"/>
              <a:gd name="connsiteY5" fmla="*/ 3206750 h 6413500"/>
              <a:gd name="connsiteX0" fmla="*/ 2908 w 7513370"/>
              <a:gd name="connsiteY0" fmla="*/ 3206750 h 6401625"/>
              <a:gd name="connsiteX1" fmla="*/ 3758139 w 7513370"/>
              <a:gd name="connsiteY1" fmla="*/ 0 h 6401625"/>
              <a:gd name="connsiteX2" fmla="*/ 7513370 w 7513370"/>
              <a:gd name="connsiteY2" fmla="*/ 0 h 6401625"/>
              <a:gd name="connsiteX3" fmla="*/ 7513370 w 7513370"/>
              <a:gd name="connsiteY3" fmla="*/ 3206750 h 6401625"/>
              <a:gd name="connsiteX4" fmla="*/ 3318752 w 7513370"/>
              <a:gd name="connsiteY4" fmla="*/ 6401625 h 6401625"/>
              <a:gd name="connsiteX5" fmla="*/ 2908 w 7513370"/>
              <a:gd name="connsiteY5" fmla="*/ 3206750 h 6401625"/>
              <a:gd name="connsiteX0" fmla="*/ 1834 w 7512296"/>
              <a:gd name="connsiteY0" fmla="*/ 3206750 h 6465504"/>
              <a:gd name="connsiteX1" fmla="*/ 3757065 w 7512296"/>
              <a:gd name="connsiteY1" fmla="*/ 0 h 6465504"/>
              <a:gd name="connsiteX2" fmla="*/ 7512296 w 7512296"/>
              <a:gd name="connsiteY2" fmla="*/ 0 h 6465504"/>
              <a:gd name="connsiteX3" fmla="*/ 7512296 w 7512296"/>
              <a:gd name="connsiteY3" fmla="*/ 4548662 h 6465504"/>
              <a:gd name="connsiteX4" fmla="*/ 3317678 w 7512296"/>
              <a:gd name="connsiteY4" fmla="*/ 6401625 h 6465504"/>
              <a:gd name="connsiteX5" fmla="*/ 1834 w 7512296"/>
              <a:gd name="connsiteY5" fmla="*/ 3206750 h 6465504"/>
              <a:gd name="connsiteX0" fmla="*/ 1834 w 7512296"/>
              <a:gd name="connsiteY0" fmla="*/ 3206750 h 6433966"/>
              <a:gd name="connsiteX1" fmla="*/ 3757065 w 7512296"/>
              <a:gd name="connsiteY1" fmla="*/ 0 h 6433966"/>
              <a:gd name="connsiteX2" fmla="*/ 7512296 w 7512296"/>
              <a:gd name="connsiteY2" fmla="*/ 0 h 6433966"/>
              <a:gd name="connsiteX3" fmla="*/ 7512296 w 7512296"/>
              <a:gd name="connsiteY3" fmla="*/ 4548662 h 6433966"/>
              <a:gd name="connsiteX4" fmla="*/ 3317678 w 7512296"/>
              <a:gd name="connsiteY4" fmla="*/ 6401625 h 6433966"/>
              <a:gd name="connsiteX5" fmla="*/ 1834 w 7512296"/>
              <a:gd name="connsiteY5" fmla="*/ 3206750 h 6433966"/>
              <a:gd name="connsiteX0" fmla="*/ 1926 w 7512388"/>
              <a:gd name="connsiteY0" fmla="*/ 3206750 h 6401626"/>
              <a:gd name="connsiteX1" fmla="*/ 3757157 w 7512388"/>
              <a:gd name="connsiteY1" fmla="*/ 0 h 6401626"/>
              <a:gd name="connsiteX2" fmla="*/ 7512388 w 7512388"/>
              <a:gd name="connsiteY2" fmla="*/ 0 h 6401626"/>
              <a:gd name="connsiteX3" fmla="*/ 7512388 w 7512388"/>
              <a:gd name="connsiteY3" fmla="*/ 4548662 h 6401626"/>
              <a:gd name="connsiteX4" fmla="*/ 3317770 w 7512388"/>
              <a:gd name="connsiteY4" fmla="*/ 6401625 h 6401626"/>
              <a:gd name="connsiteX5" fmla="*/ 1926 w 7512388"/>
              <a:gd name="connsiteY5" fmla="*/ 3206750 h 6401626"/>
              <a:gd name="connsiteX0" fmla="*/ 2666 w 7513128"/>
              <a:gd name="connsiteY0" fmla="*/ 3206750 h 6425377"/>
              <a:gd name="connsiteX1" fmla="*/ 3757897 w 7513128"/>
              <a:gd name="connsiteY1" fmla="*/ 0 h 6425377"/>
              <a:gd name="connsiteX2" fmla="*/ 7513128 w 7513128"/>
              <a:gd name="connsiteY2" fmla="*/ 0 h 6425377"/>
              <a:gd name="connsiteX3" fmla="*/ 7513128 w 7513128"/>
              <a:gd name="connsiteY3" fmla="*/ 4548662 h 6425377"/>
              <a:gd name="connsiteX4" fmla="*/ 3247258 w 7513128"/>
              <a:gd name="connsiteY4" fmla="*/ 6425376 h 6425377"/>
              <a:gd name="connsiteX5" fmla="*/ 2666 w 7513128"/>
              <a:gd name="connsiteY5" fmla="*/ 3206750 h 6425377"/>
              <a:gd name="connsiteX0" fmla="*/ 2881 w 7513343"/>
              <a:gd name="connsiteY0" fmla="*/ 3206750 h 6425377"/>
              <a:gd name="connsiteX1" fmla="*/ 3758112 w 7513343"/>
              <a:gd name="connsiteY1" fmla="*/ 0 h 6425377"/>
              <a:gd name="connsiteX2" fmla="*/ 7513343 w 7513343"/>
              <a:gd name="connsiteY2" fmla="*/ 0 h 6425377"/>
              <a:gd name="connsiteX3" fmla="*/ 7513343 w 7513343"/>
              <a:gd name="connsiteY3" fmla="*/ 4548662 h 6425377"/>
              <a:gd name="connsiteX4" fmla="*/ 3247473 w 7513343"/>
              <a:gd name="connsiteY4" fmla="*/ 6425376 h 6425377"/>
              <a:gd name="connsiteX5" fmla="*/ 2881 w 7513343"/>
              <a:gd name="connsiteY5" fmla="*/ 3206750 h 6425377"/>
              <a:gd name="connsiteX0" fmla="*/ 2847 w 7513309"/>
              <a:gd name="connsiteY0" fmla="*/ 3206750 h 6425377"/>
              <a:gd name="connsiteX1" fmla="*/ 3758078 w 7513309"/>
              <a:gd name="connsiteY1" fmla="*/ 0 h 6425377"/>
              <a:gd name="connsiteX2" fmla="*/ 7513309 w 7513309"/>
              <a:gd name="connsiteY2" fmla="*/ 0 h 6425377"/>
              <a:gd name="connsiteX3" fmla="*/ 7513309 w 7513309"/>
              <a:gd name="connsiteY3" fmla="*/ 4548662 h 6425377"/>
              <a:gd name="connsiteX4" fmla="*/ 3247439 w 7513309"/>
              <a:gd name="connsiteY4" fmla="*/ 6425376 h 6425377"/>
              <a:gd name="connsiteX5" fmla="*/ 2847 w 7513309"/>
              <a:gd name="connsiteY5" fmla="*/ 3206750 h 6425377"/>
              <a:gd name="connsiteX0" fmla="*/ 2936 w 7513398"/>
              <a:gd name="connsiteY0" fmla="*/ 3206750 h 6425377"/>
              <a:gd name="connsiteX1" fmla="*/ 3758167 w 7513398"/>
              <a:gd name="connsiteY1" fmla="*/ 0 h 6425377"/>
              <a:gd name="connsiteX2" fmla="*/ 7513398 w 7513398"/>
              <a:gd name="connsiteY2" fmla="*/ 0 h 6425377"/>
              <a:gd name="connsiteX3" fmla="*/ 7513398 w 7513398"/>
              <a:gd name="connsiteY3" fmla="*/ 4548662 h 6425377"/>
              <a:gd name="connsiteX4" fmla="*/ 3247528 w 7513398"/>
              <a:gd name="connsiteY4" fmla="*/ 6425376 h 6425377"/>
              <a:gd name="connsiteX5" fmla="*/ 2936 w 7513398"/>
              <a:gd name="connsiteY5" fmla="*/ 3206750 h 6425377"/>
              <a:gd name="connsiteX0" fmla="*/ 113356 w 7623818"/>
              <a:gd name="connsiteY0" fmla="*/ 3206750 h 6425377"/>
              <a:gd name="connsiteX1" fmla="*/ 1909159 w 7623818"/>
              <a:gd name="connsiteY1" fmla="*/ 11876 h 6425377"/>
              <a:gd name="connsiteX2" fmla="*/ 7623818 w 7623818"/>
              <a:gd name="connsiteY2" fmla="*/ 0 h 6425377"/>
              <a:gd name="connsiteX3" fmla="*/ 7623818 w 7623818"/>
              <a:gd name="connsiteY3" fmla="*/ 4548662 h 6425377"/>
              <a:gd name="connsiteX4" fmla="*/ 3357948 w 7623818"/>
              <a:gd name="connsiteY4" fmla="*/ 6425376 h 6425377"/>
              <a:gd name="connsiteX5" fmla="*/ 113356 w 7623818"/>
              <a:gd name="connsiteY5" fmla="*/ 3206750 h 6425377"/>
              <a:gd name="connsiteX0" fmla="*/ 48773 w 7559235"/>
              <a:gd name="connsiteY0" fmla="*/ 3206750 h 6425377"/>
              <a:gd name="connsiteX1" fmla="*/ 1844576 w 7559235"/>
              <a:gd name="connsiteY1" fmla="*/ 11876 h 6425377"/>
              <a:gd name="connsiteX2" fmla="*/ 7559235 w 7559235"/>
              <a:gd name="connsiteY2" fmla="*/ 0 h 6425377"/>
              <a:gd name="connsiteX3" fmla="*/ 7559235 w 7559235"/>
              <a:gd name="connsiteY3" fmla="*/ 4548662 h 6425377"/>
              <a:gd name="connsiteX4" fmla="*/ 3293365 w 7559235"/>
              <a:gd name="connsiteY4" fmla="*/ 6425376 h 6425377"/>
              <a:gd name="connsiteX5" fmla="*/ 48773 w 7559235"/>
              <a:gd name="connsiteY5" fmla="*/ 3206750 h 6425377"/>
              <a:gd name="connsiteX0" fmla="*/ 28 w 7510490"/>
              <a:gd name="connsiteY0" fmla="*/ 3206750 h 6425377"/>
              <a:gd name="connsiteX1" fmla="*/ 1795831 w 7510490"/>
              <a:gd name="connsiteY1" fmla="*/ 11876 h 6425377"/>
              <a:gd name="connsiteX2" fmla="*/ 7510490 w 7510490"/>
              <a:gd name="connsiteY2" fmla="*/ 0 h 6425377"/>
              <a:gd name="connsiteX3" fmla="*/ 7510490 w 7510490"/>
              <a:gd name="connsiteY3" fmla="*/ 4548662 h 6425377"/>
              <a:gd name="connsiteX4" fmla="*/ 3244620 w 7510490"/>
              <a:gd name="connsiteY4" fmla="*/ 6425376 h 6425377"/>
              <a:gd name="connsiteX5" fmla="*/ 28 w 7510490"/>
              <a:gd name="connsiteY5" fmla="*/ 3206750 h 6425377"/>
              <a:gd name="connsiteX0" fmla="*/ 169 w 7510631"/>
              <a:gd name="connsiteY0" fmla="*/ 3206750 h 6425377"/>
              <a:gd name="connsiteX1" fmla="*/ 1795972 w 7510631"/>
              <a:gd name="connsiteY1" fmla="*/ 11876 h 6425377"/>
              <a:gd name="connsiteX2" fmla="*/ 7510631 w 7510631"/>
              <a:gd name="connsiteY2" fmla="*/ 0 h 6425377"/>
              <a:gd name="connsiteX3" fmla="*/ 7510631 w 7510631"/>
              <a:gd name="connsiteY3" fmla="*/ 4548662 h 6425377"/>
              <a:gd name="connsiteX4" fmla="*/ 3244761 w 7510631"/>
              <a:gd name="connsiteY4" fmla="*/ 6425376 h 6425377"/>
              <a:gd name="connsiteX5" fmla="*/ 169 w 7510631"/>
              <a:gd name="connsiteY5" fmla="*/ 3206750 h 6425377"/>
              <a:gd name="connsiteX0" fmla="*/ 28 w 7510490"/>
              <a:gd name="connsiteY0" fmla="*/ 3206750 h 6425377"/>
              <a:gd name="connsiteX1" fmla="*/ 1795831 w 7510490"/>
              <a:gd name="connsiteY1" fmla="*/ 11876 h 6425377"/>
              <a:gd name="connsiteX2" fmla="*/ 7510490 w 7510490"/>
              <a:gd name="connsiteY2" fmla="*/ 0 h 6425377"/>
              <a:gd name="connsiteX3" fmla="*/ 7510490 w 7510490"/>
              <a:gd name="connsiteY3" fmla="*/ 4548662 h 6425377"/>
              <a:gd name="connsiteX4" fmla="*/ 3244620 w 7510490"/>
              <a:gd name="connsiteY4" fmla="*/ 6425376 h 6425377"/>
              <a:gd name="connsiteX5" fmla="*/ 28 w 7510490"/>
              <a:gd name="connsiteY5" fmla="*/ 3206750 h 6425377"/>
              <a:gd name="connsiteX0" fmla="*/ 33 w 7510495"/>
              <a:gd name="connsiteY0" fmla="*/ 3206750 h 6425632"/>
              <a:gd name="connsiteX1" fmla="*/ 1795836 w 7510495"/>
              <a:gd name="connsiteY1" fmla="*/ 11876 h 6425632"/>
              <a:gd name="connsiteX2" fmla="*/ 7510495 w 7510495"/>
              <a:gd name="connsiteY2" fmla="*/ 0 h 6425632"/>
              <a:gd name="connsiteX3" fmla="*/ 7510495 w 7510495"/>
              <a:gd name="connsiteY3" fmla="*/ 4548662 h 6425632"/>
              <a:gd name="connsiteX4" fmla="*/ 3244625 w 7510495"/>
              <a:gd name="connsiteY4" fmla="*/ 6425376 h 6425632"/>
              <a:gd name="connsiteX5" fmla="*/ 33 w 7510495"/>
              <a:gd name="connsiteY5" fmla="*/ 3206750 h 6425632"/>
              <a:gd name="connsiteX0" fmla="*/ 32 w 7510494"/>
              <a:gd name="connsiteY0" fmla="*/ 3206750 h 6427368"/>
              <a:gd name="connsiteX1" fmla="*/ 1795835 w 7510494"/>
              <a:gd name="connsiteY1" fmla="*/ 11876 h 6427368"/>
              <a:gd name="connsiteX2" fmla="*/ 7510494 w 7510494"/>
              <a:gd name="connsiteY2" fmla="*/ 0 h 6427368"/>
              <a:gd name="connsiteX3" fmla="*/ 7510494 w 7510494"/>
              <a:gd name="connsiteY3" fmla="*/ 4548662 h 6427368"/>
              <a:gd name="connsiteX4" fmla="*/ 3244624 w 7510494"/>
              <a:gd name="connsiteY4" fmla="*/ 6425376 h 6427368"/>
              <a:gd name="connsiteX5" fmla="*/ 32 w 7510494"/>
              <a:gd name="connsiteY5" fmla="*/ 3206750 h 6427368"/>
              <a:gd name="connsiteX0" fmla="*/ 47590 w 7558052"/>
              <a:gd name="connsiteY0" fmla="*/ 3218624 h 6439018"/>
              <a:gd name="connsiteX1" fmla="*/ 1855268 w 7558052"/>
              <a:gd name="connsiteY1" fmla="*/ 0 h 6439018"/>
              <a:gd name="connsiteX2" fmla="*/ 7558052 w 7558052"/>
              <a:gd name="connsiteY2" fmla="*/ 11874 h 6439018"/>
              <a:gd name="connsiteX3" fmla="*/ 7558052 w 7558052"/>
              <a:gd name="connsiteY3" fmla="*/ 4560536 h 6439018"/>
              <a:gd name="connsiteX4" fmla="*/ 3292182 w 7558052"/>
              <a:gd name="connsiteY4" fmla="*/ 6437250 h 6439018"/>
              <a:gd name="connsiteX5" fmla="*/ 47590 w 7558052"/>
              <a:gd name="connsiteY5" fmla="*/ 3218624 h 6439018"/>
              <a:gd name="connsiteX0" fmla="*/ 45228 w 7555690"/>
              <a:gd name="connsiteY0" fmla="*/ 3218624 h 6439018"/>
              <a:gd name="connsiteX1" fmla="*/ 1852906 w 7555690"/>
              <a:gd name="connsiteY1" fmla="*/ 0 h 6439018"/>
              <a:gd name="connsiteX2" fmla="*/ 7555690 w 7555690"/>
              <a:gd name="connsiteY2" fmla="*/ 11874 h 6439018"/>
              <a:gd name="connsiteX3" fmla="*/ 7555690 w 7555690"/>
              <a:gd name="connsiteY3" fmla="*/ 4560536 h 6439018"/>
              <a:gd name="connsiteX4" fmla="*/ 3242319 w 7555690"/>
              <a:gd name="connsiteY4" fmla="*/ 6437250 h 6439018"/>
              <a:gd name="connsiteX5" fmla="*/ 45228 w 7555690"/>
              <a:gd name="connsiteY5" fmla="*/ 3218624 h 6439018"/>
              <a:gd name="connsiteX0" fmla="*/ 45228 w 7555690"/>
              <a:gd name="connsiteY0" fmla="*/ 3218624 h 6437316"/>
              <a:gd name="connsiteX1" fmla="*/ 1852906 w 7555690"/>
              <a:gd name="connsiteY1" fmla="*/ 0 h 6437316"/>
              <a:gd name="connsiteX2" fmla="*/ 7555690 w 7555690"/>
              <a:gd name="connsiteY2" fmla="*/ 11874 h 6437316"/>
              <a:gd name="connsiteX3" fmla="*/ 7555690 w 7555690"/>
              <a:gd name="connsiteY3" fmla="*/ 4560536 h 6437316"/>
              <a:gd name="connsiteX4" fmla="*/ 3242319 w 7555690"/>
              <a:gd name="connsiteY4" fmla="*/ 6437250 h 6437316"/>
              <a:gd name="connsiteX5" fmla="*/ 45228 w 7555690"/>
              <a:gd name="connsiteY5" fmla="*/ 3218624 h 6437316"/>
              <a:gd name="connsiteX0" fmla="*/ 44643 w 7555105"/>
              <a:gd name="connsiteY0" fmla="*/ 3218624 h 6437316"/>
              <a:gd name="connsiteX1" fmla="*/ 1852321 w 7555105"/>
              <a:gd name="connsiteY1" fmla="*/ 0 h 6437316"/>
              <a:gd name="connsiteX2" fmla="*/ 7555105 w 7555105"/>
              <a:gd name="connsiteY2" fmla="*/ 11874 h 6437316"/>
              <a:gd name="connsiteX3" fmla="*/ 7555105 w 7555105"/>
              <a:gd name="connsiteY3" fmla="*/ 4560536 h 6437316"/>
              <a:gd name="connsiteX4" fmla="*/ 3229859 w 7555105"/>
              <a:gd name="connsiteY4" fmla="*/ 6437250 h 6437316"/>
              <a:gd name="connsiteX5" fmla="*/ 44643 w 7555105"/>
              <a:gd name="connsiteY5" fmla="*/ 3218624 h 6437316"/>
              <a:gd name="connsiteX0" fmla="*/ 45201 w 7543787"/>
              <a:gd name="connsiteY0" fmla="*/ 3230499 h 6468500"/>
              <a:gd name="connsiteX1" fmla="*/ 1841003 w 7543787"/>
              <a:gd name="connsiteY1" fmla="*/ 0 h 6468500"/>
              <a:gd name="connsiteX2" fmla="*/ 7543787 w 7543787"/>
              <a:gd name="connsiteY2" fmla="*/ 11874 h 6468500"/>
              <a:gd name="connsiteX3" fmla="*/ 7543787 w 7543787"/>
              <a:gd name="connsiteY3" fmla="*/ 4560536 h 6468500"/>
              <a:gd name="connsiteX4" fmla="*/ 3218541 w 7543787"/>
              <a:gd name="connsiteY4" fmla="*/ 6437250 h 6468500"/>
              <a:gd name="connsiteX5" fmla="*/ 45201 w 7543787"/>
              <a:gd name="connsiteY5" fmla="*/ 3230499 h 6468500"/>
              <a:gd name="connsiteX0" fmla="*/ 1195 w 7499781"/>
              <a:gd name="connsiteY0" fmla="*/ 3230499 h 6468500"/>
              <a:gd name="connsiteX1" fmla="*/ 1796997 w 7499781"/>
              <a:gd name="connsiteY1" fmla="*/ 0 h 6468500"/>
              <a:gd name="connsiteX2" fmla="*/ 7499781 w 7499781"/>
              <a:gd name="connsiteY2" fmla="*/ 11874 h 6468500"/>
              <a:gd name="connsiteX3" fmla="*/ 7499781 w 7499781"/>
              <a:gd name="connsiteY3" fmla="*/ 4560536 h 6468500"/>
              <a:gd name="connsiteX4" fmla="*/ 3174535 w 7499781"/>
              <a:gd name="connsiteY4" fmla="*/ 6437250 h 6468500"/>
              <a:gd name="connsiteX5" fmla="*/ 1195 w 7499781"/>
              <a:gd name="connsiteY5" fmla="*/ 3230499 h 6468500"/>
              <a:gd name="connsiteX0" fmla="*/ 28 w 7498614"/>
              <a:gd name="connsiteY0" fmla="*/ 3230499 h 6468500"/>
              <a:gd name="connsiteX1" fmla="*/ 1795830 w 7498614"/>
              <a:gd name="connsiteY1" fmla="*/ 0 h 6468500"/>
              <a:gd name="connsiteX2" fmla="*/ 7498614 w 7498614"/>
              <a:gd name="connsiteY2" fmla="*/ 11874 h 6468500"/>
              <a:gd name="connsiteX3" fmla="*/ 7498614 w 7498614"/>
              <a:gd name="connsiteY3" fmla="*/ 4560536 h 6468500"/>
              <a:gd name="connsiteX4" fmla="*/ 3173368 w 7498614"/>
              <a:gd name="connsiteY4" fmla="*/ 6437250 h 6468500"/>
              <a:gd name="connsiteX5" fmla="*/ 28 w 7498614"/>
              <a:gd name="connsiteY5" fmla="*/ 3230499 h 6468500"/>
              <a:gd name="connsiteX0" fmla="*/ 28 w 7498614"/>
              <a:gd name="connsiteY0" fmla="*/ 3230499 h 6468500"/>
              <a:gd name="connsiteX1" fmla="*/ 1795830 w 7498614"/>
              <a:gd name="connsiteY1" fmla="*/ 0 h 6468500"/>
              <a:gd name="connsiteX2" fmla="*/ 7498614 w 7498614"/>
              <a:gd name="connsiteY2" fmla="*/ 11874 h 6468500"/>
              <a:gd name="connsiteX3" fmla="*/ 7498614 w 7498614"/>
              <a:gd name="connsiteY3" fmla="*/ 4560536 h 6468500"/>
              <a:gd name="connsiteX4" fmla="*/ 3173368 w 7498614"/>
              <a:gd name="connsiteY4" fmla="*/ 6437250 h 6468500"/>
              <a:gd name="connsiteX5" fmla="*/ 28 w 7498614"/>
              <a:gd name="connsiteY5" fmla="*/ 3230499 h 6468500"/>
              <a:gd name="connsiteX0" fmla="*/ 46977 w 7545563"/>
              <a:gd name="connsiteY0" fmla="*/ 3230499 h 6238451"/>
              <a:gd name="connsiteX1" fmla="*/ 1842779 w 7545563"/>
              <a:gd name="connsiteY1" fmla="*/ 0 h 6238451"/>
              <a:gd name="connsiteX2" fmla="*/ 7545563 w 7545563"/>
              <a:gd name="connsiteY2" fmla="*/ 11874 h 6238451"/>
              <a:gd name="connsiteX3" fmla="*/ 7545563 w 7545563"/>
              <a:gd name="connsiteY3" fmla="*/ 4560536 h 6238451"/>
              <a:gd name="connsiteX4" fmla="*/ 3255943 w 7545563"/>
              <a:gd name="connsiteY4" fmla="*/ 6199743 h 6238451"/>
              <a:gd name="connsiteX5" fmla="*/ 46977 w 7545563"/>
              <a:gd name="connsiteY5" fmla="*/ 3230499 h 6238451"/>
              <a:gd name="connsiteX0" fmla="*/ 47574 w 7546160"/>
              <a:gd name="connsiteY0" fmla="*/ 3230499 h 6445368"/>
              <a:gd name="connsiteX1" fmla="*/ 1843376 w 7546160"/>
              <a:gd name="connsiteY1" fmla="*/ 0 h 6445368"/>
              <a:gd name="connsiteX2" fmla="*/ 7546160 w 7546160"/>
              <a:gd name="connsiteY2" fmla="*/ 11874 h 6445368"/>
              <a:gd name="connsiteX3" fmla="*/ 7546160 w 7546160"/>
              <a:gd name="connsiteY3" fmla="*/ 4560536 h 6445368"/>
              <a:gd name="connsiteX4" fmla="*/ 3268415 w 7546160"/>
              <a:gd name="connsiteY4" fmla="*/ 6413499 h 6445368"/>
              <a:gd name="connsiteX5" fmla="*/ 47574 w 7546160"/>
              <a:gd name="connsiteY5" fmla="*/ 3230499 h 6445368"/>
              <a:gd name="connsiteX0" fmla="*/ 47574 w 7546160"/>
              <a:gd name="connsiteY0" fmla="*/ 3230499 h 6413560"/>
              <a:gd name="connsiteX1" fmla="*/ 1843376 w 7546160"/>
              <a:gd name="connsiteY1" fmla="*/ 0 h 6413560"/>
              <a:gd name="connsiteX2" fmla="*/ 7546160 w 7546160"/>
              <a:gd name="connsiteY2" fmla="*/ 11874 h 6413560"/>
              <a:gd name="connsiteX3" fmla="*/ 7546160 w 7546160"/>
              <a:gd name="connsiteY3" fmla="*/ 4560536 h 6413560"/>
              <a:gd name="connsiteX4" fmla="*/ 3268415 w 7546160"/>
              <a:gd name="connsiteY4" fmla="*/ 6413499 h 6413560"/>
              <a:gd name="connsiteX5" fmla="*/ 47574 w 7546160"/>
              <a:gd name="connsiteY5" fmla="*/ 3230499 h 6413560"/>
              <a:gd name="connsiteX0" fmla="*/ 0 w 7498586"/>
              <a:gd name="connsiteY0" fmla="*/ 3230499 h 6413560"/>
              <a:gd name="connsiteX1" fmla="*/ 1795802 w 7498586"/>
              <a:gd name="connsiteY1" fmla="*/ 0 h 6413560"/>
              <a:gd name="connsiteX2" fmla="*/ 7498586 w 7498586"/>
              <a:gd name="connsiteY2" fmla="*/ 11874 h 6413560"/>
              <a:gd name="connsiteX3" fmla="*/ 7498586 w 7498586"/>
              <a:gd name="connsiteY3" fmla="*/ 4560536 h 6413560"/>
              <a:gd name="connsiteX4" fmla="*/ 3220841 w 7498586"/>
              <a:gd name="connsiteY4" fmla="*/ 6413499 h 6413560"/>
              <a:gd name="connsiteX5" fmla="*/ 0 w 7498586"/>
              <a:gd name="connsiteY5" fmla="*/ 3230499 h 6413560"/>
              <a:gd name="connsiteX0" fmla="*/ 0 w 7498586"/>
              <a:gd name="connsiteY0" fmla="*/ 3230499 h 6413560"/>
              <a:gd name="connsiteX1" fmla="*/ 1795802 w 7498586"/>
              <a:gd name="connsiteY1" fmla="*/ 0 h 6413560"/>
              <a:gd name="connsiteX2" fmla="*/ 7498586 w 7498586"/>
              <a:gd name="connsiteY2" fmla="*/ 11874 h 6413560"/>
              <a:gd name="connsiteX3" fmla="*/ 7498586 w 7498586"/>
              <a:gd name="connsiteY3" fmla="*/ 4560536 h 6413560"/>
              <a:gd name="connsiteX4" fmla="*/ 3220841 w 7498586"/>
              <a:gd name="connsiteY4" fmla="*/ 6413499 h 6413560"/>
              <a:gd name="connsiteX5" fmla="*/ 0 w 7498586"/>
              <a:gd name="connsiteY5" fmla="*/ 3230499 h 6413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498586" h="6413560">
                <a:moveTo>
                  <a:pt x="0" y="3230499"/>
                </a:moveTo>
                <a:cubicBezTo>
                  <a:pt x="0" y="1627194"/>
                  <a:pt x="564993" y="783772"/>
                  <a:pt x="1795802" y="0"/>
                </a:cubicBezTo>
                <a:lnTo>
                  <a:pt x="7498586" y="11874"/>
                </a:lnTo>
                <a:lnTo>
                  <a:pt x="7498586" y="4560536"/>
                </a:lnTo>
                <a:cubicBezTo>
                  <a:pt x="5646035" y="5666557"/>
                  <a:pt x="5052496" y="6421416"/>
                  <a:pt x="3220841" y="6413499"/>
                </a:cubicBezTo>
                <a:cubicBezTo>
                  <a:pt x="1389186" y="6405582"/>
                  <a:pt x="0" y="4833804"/>
                  <a:pt x="0" y="3230499"/>
                </a:cubicBezTo>
                <a:close/>
              </a:path>
            </a:pathLst>
          </a:custGeom>
          <a:solidFill>
            <a:schemeClr val="accent1">
              <a:alpha val="15000"/>
            </a:schemeClr>
          </a:solidFill>
        </p:spPr>
        <p:txBody>
          <a:bodyPr/>
          <a:lstStyle>
            <a:lvl1pPr algn="ctr">
              <a:defRPr/>
            </a:lvl1pPr>
          </a:lstStyle>
          <a:p>
            <a:endParaRPr lang="en-GB" dirty="0"/>
          </a:p>
        </p:txBody>
      </p:sp>
      <p:sp>
        <p:nvSpPr>
          <p:cNvPr id="2" name="Title 1"/>
          <p:cNvSpPr>
            <a:spLocks noGrp="1"/>
          </p:cNvSpPr>
          <p:nvPr>
            <p:ph type="ctrTitle"/>
          </p:nvPr>
        </p:nvSpPr>
        <p:spPr>
          <a:xfrm>
            <a:off x="468000" y="457200"/>
            <a:ext cx="5155200" cy="457200"/>
          </a:xfrm>
        </p:spPr>
        <p:txBody>
          <a:bodyPr vert="horz" lIns="0" tIns="0" rIns="0" bIns="0" rtlCol="0" anchor="t" anchorCtr="0">
            <a:noAutofit/>
          </a:bodyPr>
          <a:lstStyle>
            <a:lvl1pPr algn="l">
              <a:lnSpc>
                <a:spcPts val="2120"/>
              </a:lnSpc>
              <a:defRPr lang="en-GB" noProof="0" dirty="0"/>
            </a:lvl1pPr>
          </a:lstStyle>
          <a:p>
            <a:pPr lvl="0"/>
            <a:r>
              <a:rPr lang="en-US" noProof="0" dirty="0"/>
              <a:t>Click to edit Master title style</a:t>
            </a:r>
            <a:endParaRPr lang="en-GB" noProof="0" dirty="0"/>
          </a:p>
        </p:txBody>
      </p:sp>
      <p:sp>
        <p:nvSpPr>
          <p:cNvPr id="6" name="Footer Placeholder 5">
            <a:extLst>
              <a:ext uri="{FF2B5EF4-FFF2-40B4-BE49-F238E27FC236}">
                <a16:creationId xmlns:a16="http://schemas.microsoft.com/office/drawing/2014/main" id="{184F4E7D-A950-4778-8BC5-6A7D69AFC0FB}"/>
              </a:ext>
            </a:extLst>
          </p:cNvPr>
          <p:cNvSpPr>
            <a:spLocks noGrp="1"/>
          </p:cNvSpPr>
          <p:nvPr>
            <p:ph type="ftr" sz="quarter" idx="13"/>
          </p:nvPr>
        </p:nvSpPr>
        <p:spPr/>
        <p:txBody>
          <a:bodyPr/>
          <a:lstStyle/>
          <a:p>
            <a:pPr algn="l">
              <a:lnSpc>
                <a:spcPts val="970"/>
              </a:lnSpc>
            </a:pPr>
            <a:r>
              <a:rPr lang="en-GB" dirty="0"/>
              <a:t>© Colt Technology Services  |  Presentation title here</a:t>
            </a:r>
          </a:p>
        </p:txBody>
      </p:sp>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sp>
        <p:nvSpPr>
          <p:cNvPr id="10" name="Text Placeholder 9">
            <a:extLst>
              <a:ext uri="{FF2B5EF4-FFF2-40B4-BE49-F238E27FC236}">
                <a16:creationId xmlns:a16="http://schemas.microsoft.com/office/drawing/2014/main" id="{40C6BB52-481B-46AE-9210-2C30607BF2FD}"/>
              </a:ext>
            </a:extLst>
          </p:cNvPr>
          <p:cNvSpPr>
            <a:spLocks noGrp="1"/>
          </p:cNvSpPr>
          <p:nvPr>
            <p:ph type="body" sz="quarter" idx="15"/>
          </p:nvPr>
        </p:nvSpPr>
        <p:spPr>
          <a:xfrm>
            <a:off x="468313" y="1224000"/>
            <a:ext cx="4224337" cy="3348037"/>
          </a:xfrm>
        </p:spPr>
        <p:txBody>
          <a:bodyPr/>
          <a:lstStyle>
            <a:lvl1pPr>
              <a:lnSpc>
                <a:spcPts val="6800"/>
              </a:lnSpc>
              <a:spcAft>
                <a:spcPts val="0"/>
              </a:spcAft>
              <a:defRPr sz="5890"/>
            </a:lvl1pPr>
          </a:lstStyle>
          <a:p>
            <a:pPr lvl="0"/>
            <a:r>
              <a:rPr lang="en-US" dirty="0"/>
              <a:t>Click to edit Master text styles</a:t>
            </a:r>
            <a:endParaRPr lang="en-GB" dirty="0"/>
          </a:p>
        </p:txBody>
      </p:sp>
    </p:spTree>
    <p:extLst>
      <p:ext uri="{BB962C8B-B14F-4D97-AF65-F5344CB8AC3E}">
        <p14:creationId xmlns:p14="http://schemas.microsoft.com/office/powerpoint/2010/main" val="3354534472"/>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Title Slide v4">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39105BF0-8AD6-974C-9F13-1920E72E3020}"/>
              </a:ext>
            </a:extLst>
          </p:cNvPr>
          <p:cNvPicPr>
            <a:picLocks noChangeAspect="1"/>
          </p:cNvPicPr>
          <p:nvPr userDrawn="1"/>
        </p:nvPicPr>
        <p:blipFill>
          <a:blip r:embed="rId2"/>
          <a:stretch>
            <a:fillRect/>
          </a:stretch>
        </p:blipFill>
        <p:spPr>
          <a:xfrm>
            <a:off x="7029083" y="-13447"/>
            <a:ext cx="5156200" cy="5880100"/>
          </a:xfrm>
          <a:prstGeom prst="rect">
            <a:avLst/>
          </a:prstGeom>
        </p:spPr>
      </p:pic>
      <p:sp>
        <p:nvSpPr>
          <p:cNvPr id="2" name="Title 1"/>
          <p:cNvSpPr>
            <a:spLocks noGrp="1"/>
          </p:cNvSpPr>
          <p:nvPr>
            <p:ph type="ctrTitle" hasCustomPrompt="1"/>
          </p:nvPr>
        </p:nvSpPr>
        <p:spPr>
          <a:xfrm>
            <a:off x="1875600" y="2286000"/>
            <a:ext cx="7306500" cy="1884008"/>
          </a:xfrm>
        </p:spPr>
        <p:txBody>
          <a:bodyPr/>
          <a:lstStyle>
            <a:lvl1pPr algn="l">
              <a:lnSpc>
                <a:spcPts val="6630"/>
              </a:lnSpc>
              <a:defRPr sz="6630"/>
            </a:lvl1pPr>
          </a:lstStyle>
          <a:p>
            <a:r>
              <a:rPr lang="en-GB" dirty="0"/>
              <a:t>Title Slide</a:t>
            </a:r>
            <a:endParaRPr lang="en-GB" noProof="0" dirty="0"/>
          </a:p>
        </p:txBody>
      </p:sp>
      <p:sp>
        <p:nvSpPr>
          <p:cNvPr id="3" name="Subtitle 2"/>
          <p:cNvSpPr>
            <a:spLocks noGrp="1"/>
          </p:cNvSpPr>
          <p:nvPr>
            <p:ph type="subTitle" idx="1"/>
          </p:nvPr>
        </p:nvSpPr>
        <p:spPr>
          <a:xfrm>
            <a:off x="1875600" y="4170008"/>
            <a:ext cx="7306500" cy="226795"/>
          </a:xfrm>
        </p:spPr>
        <p:txBody>
          <a:bodyPr/>
          <a:lstStyle>
            <a:lvl1pPr marL="0" indent="0" algn="l">
              <a:lnSpc>
                <a:spcPts val="1590"/>
              </a:lnSpc>
              <a:spcAft>
                <a:spcPts val="0"/>
              </a:spcAft>
              <a:buNone/>
              <a:defRPr sz="141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sp>
        <p:nvSpPr>
          <p:cNvPr id="4" name="Date Placeholder 3"/>
          <p:cNvSpPr>
            <a:spLocks noGrp="1"/>
          </p:cNvSpPr>
          <p:nvPr>
            <p:ph type="dt" sz="half" idx="10"/>
          </p:nvPr>
        </p:nvSpPr>
        <p:spPr>
          <a:xfrm>
            <a:off x="1875600" y="4414345"/>
            <a:ext cx="3996000" cy="288000"/>
          </a:xfrm>
        </p:spPr>
        <p:txBody>
          <a:bodyPr anchor="t" anchorCtr="0"/>
          <a:lstStyle>
            <a:lvl1pPr>
              <a:lnSpc>
                <a:spcPts val="1590"/>
              </a:lnSpc>
              <a:defRPr sz="1410">
                <a:solidFill>
                  <a:schemeClr val="accent2"/>
                </a:solidFill>
              </a:defRPr>
            </a:lvl1pPr>
          </a:lstStyle>
          <a:p>
            <a:pPr>
              <a:lnSpc>
                <a:spcPts val="1590"/>
              </a:lnSpc>
            </a:pPr>
            <a:fld id="{1C246972-E14A-4730-BC91-3E95C3F7192F}" type="datetime3">
              <a:rPr lang="en-US" smtClean="0"/>
              <a:t>22 December 2023</a:t>
            </a:fld>
            <a:endParaRPr lang="en-GB" dirty="0"/>
          </a:p>
        </p:txBody>
      </p:sp>
      <p:grpSp>
        <p:nvGrpSpPr>
          <p:cNvPr id="9" name="Group 8">
            <a:extLst>
              <a:ext uri="{FF2B5EF4-FFF2-40B4-BE49-F238E27FC236}">
                <a16:creationId xmlns:a16="http://schemas.microsoft.com/office/drawing/2014/main" id="{47D0206B-82CB-E348-8A78-9CA3278CF4AE}"/>
              </a:ext>
            </a:extLst>
          </p:cNvPr>
          <p:cNvGrpSpPr/>
          <p:nvPr userDrawn="1"/>
        </p:nvGrpSpPr>
        <p:grpSpPr>
          <a:xfrm>
            <a:off x="471600" y="443753"/>
            <a:ext cx="1412891" cy="552898"/>
            <a:chOff x="3562350" y="3567113"/>
            <a:chExt cx="3476625" cy="1360487"/>
          </a:xfrm>
          <a:solidFill>
            <a:schemeClr val="accent1"/>
          </a:solidFill>
        </p:grpSpPr>
        <p:sp>
          <p:nvSpPr>
            <p:cNvPr id="10" name="Freeform 1">
              <a:extLst>
                <a:ext uri="{FF2B5EF4-FFF2-40B4-BE49-F238E27FC236}">
                  <a16:creationId xmlns:a16="http://schemas.microsoft.com/office/drawing/2014/main" id="{A91CD9E0-78A1-E844-9E19-A98DCA3FDD23}"/>
                </a:ext>
              </a:extLst>
            </p:cNvPr>
            <p:cNvSpPr>
              <a:spLocks noChangeArrowheads="1"/>
            </p:cNvSpPr>
            <p:nvPr/>
          </p:nvSpPr>
          <p:spPr bwMode="auto">
            <a:xfrm>
              <a:off x="4710113" y="3800475"/>
              <a:ext cx="1136650" cy="1127125"/>
            </a:xfrm>
            <a:custGeom>
              <a:avLst/>
              <a:gdLst>
                <a:gd name="T0" fmla="*/ 10 w 3158"/>
                <a:gd name="T1" fmla="*/ 1539 h 3130"/>
                <a:gd name="T2" fmla="*/ 1599 w 3158"/>
                <a:gd name="T3" fmla="*/ 13 h 3130"/>
                <a:gd name="T4" fmla="*/ 3148 w 3158"/>
                <a:gd name="T5" fmla="*/ 1584 h 3130"/>
                <a:gd name="T6" fmla="*/ 1560 w 3158"/>
                <a:gd name="T7" fmla="*/ 3116 h 3130"/>
                <a:gd name="T8" fmla="*/ 10 w 3158"/>
                <a:gd name="T9" fmla="*/ 1545 h 3130"/>
                <a:gd name="T10" fmla="*/ 10 w 3158"/>
                <a:gd name="T11" fmla="*/ 1539 h 3130"/>
                <a:gd name="T12" fmla="*/ 711 w 3158"/>
                <a:gd name="T13" fmla="*/ 1553 h 3130"/>
                <a:gd name="T14" fmla="*/ 1568 w 3158"/>
                <a:gd name="T15" fmla="*/ 2456 h 3130"/>
                <a:gd name="T16" fmla="*/ 2446 w 3158"/>
                <a:gd name="T17" fmla="*/ 1570 h 3130"/>
                <a:gd name="T18" fmla="*/ 1591 w 3158"/>
                <a:gd name="T19" fmla="*/ 662 h 3130"/>
                <a:gd name="T20" fmla="*/ 712 w 3158"/>
                <a:gd name="T21" fmla="*/ 1548 h 3130"/>
                <a:gd name="T22" fmla="*/ 711 w 3158"/>
                <a:gd name="T23" fmla="*/ 1553 h 3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58" h="3130">
                  <a:moveTo>
                    <a:pt x="10" y="1539"/>
                  </a:moveTo>
                  <a:cubicBezTo>
                    <a:pt x="19" y="790"/>
                    <a:pt x="578" y="0"/>
                    <a:pt x="1599" y="13"/>
                  </a:cubicBezTo>
                  <a:cubicBezTo>
                    <a:pt x="2619" y="26"/>
                    <a:pt x="3157" y="830"/>
                    <a:pt x="3148" y="1584"/>
                  </a:cubicBezTo>
                  <a:cubicBezTo>
                    <a:pt x="3138" y="2341"/>
                    <a:pt x="2579" y="3129"/>
                    <a:pt x="1560" y="3116"/>
                  </a:cubicBezTo>
                  <a:cubicBezTo>
                    <a:pt x="539" y="3104"/>
                    <a:pt x="0" y="2302"/>
                    <a:pt x="10" y="1545"/>
                  </a:cubicBezTo>
                  <a:lnTo>
                    <a:pt x="10" y="1539"/>
                  </a:lnTo>
                  <a:close/>
                  <a:moveTo>
                    <a:pt x="711" y="1553"/>
                  </a:moveTo>
                  <a:cubicBezTo>
                    <a:pt x="705" y="2065"/>
                    <a:pt x="1089" y="2451"/>
                    <a:pt x="1568" y="2456"/>
                  </a:cubicBezTo>
                  <a:cubicBezTo>
                    <a:pt x="2047" y="2462"/>
                    <a:pt x="2440" y="2087"/>
                    <a:pt x="2446" y="1570"/>
                  </a:cubicBezTo>
                  <a:cubicBezTo>
                    <a:pt x="2453" y="1054"/>
                    <a:pt x="2070" y="669"/>
                    <a:pt x="1591" y="662"/>
                  </a:cubicBezTo>
                  <a:cubicBezTo>
                    <a:pt x="1112" y="656"/>
                    <a:pt x="718" y="1032"/>
                    <a:pt x="712" y="1548"/>
                  </a:cubicBezTo>
                  <a:lnTo>
                    <a:pt x="711" y="15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1" name="Freeform 2">
              <a:extLst>
                <a:ext uri="{FF2B5EF4-FFF2-40B4-BE49-F238E27FC236}">
                  <a16:creationId xmlns:a16="http://schemas.microsoft.com/office/drawing/2014/main" id="{60FF600C-3CD7-B443-BBBD-AC259128FF35}"/>
                </a:ext>
              </a:extLst>
            </p:cNvPr>
            <p:cNvSpPr>
              <a:spLocks noChangeArrowheads="1"/>
            </p:cNvSpPr>
            <p:nvPr/>
          </p:nvSpPr>
          <p:spPr bwMode="auto">
            <a:xfrm>
              <a:off x="5969000" y="3567113"/>
              <a:ext cx="455613" cy="1338262"/>
            </a:xfrm>
            <a:custGeom>
              <a:avLst/>
              <a:gdLst>
                <a:gd name="T0" fmla="*/ 971 w 1264"/>
                <a:gd name="T1" fmla="*/ 3165 h 3717"/>
                <a:gd name="T2" fmla="*/ 765 w 1264"/>
                <a:gd name="T3" fmla="*/ 2983 h 3717"/>
                <a:gd name="T4" fmla="*/ 803 w 1264"/>
                <a:gd name="T5" fmla="*/ 9 h 3717"/>
                <a:gd name="T6" fmla="*/ 101 w 1264"/>
                <a:gd name="T7" fmla="*/ 0 h 3717"/>
                <a:gd name="T8" fmla="*/ 64 w 1264"/>
                <a:gd name="T9" fmla="*/ 2965 h 3717"/>
                <a:gd name="T10" fmla="*/ 696 w 1264"/>
                <a:gd name="T11" fmla="*/ 3708 h 3717"/>
                <a:gd name="T12" fmla="*/ 696 w 1264"/>
                <a:gd name="T13" fmla="*/ 3709 h 3717"/>
                <a:gd name="T14" fmla="*/ 1256 w 1264"/>
                <a:gd name="T15" fmla="*/ 3716 h 3717"/>
                <a:gd name="T16" fmla="*/ 1263 w 1264"/>
                <a:gd name="T17" fmla="*/ 3168 h 3717"/>
                <a:gd name="T18" fmla="*/ 971 w 1264"/>
                <a:gd name="T19" fmla="*/ 3165 h 3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4" h="3717">
                  <a:moveTo>
                    <a:pt x="971" y="3165"/>
                  </a:moveTo>
                  <a:cubicBezTo>
                    <a:pt x="971" y="3165"/>
                    <a:pt x="768" y="3164"/>
                    <a:pt x="765" y="2983"/>
                  </a:cubicBezTo>
                  <a:lnTo>
                    <a:pt x="803" y="9"/>
                  </a:lnTo>
                  <a:lnTo>
                    <a:pt x="101" y="0"/>
                  </a:lnTo>
                  <a:lnTo>
                    <a:pt x="64" y="2965"/>
                  </a:lnTo>
                  <a:cubicBezTo>
                    <a:pt x="64" y="2965"/>
                    <a:pt x="0" y="3699"/>
                    <a:pt x="696" y="3708"/>
                  </a:cubicBezTo>
                  <a:lnTo>
                    <a:pt x="696" y="3709"/>
                  </a:lnTo>
                  <a:lnTo>
                    <a:pt x="1256" y="3716"/>
                  </a:lnTo>
                  <a:lnTo>
                    <a:pt x="1263" y="3168"/>
                  </a:lnTo>
                  <a:lnTo>
                    <a:pt x="971" y="31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2" name="Freeform 3">
              <a:extLst>
                <a:ext uri="{FF2B5EF4-FFF2-40B4-BE49-F238E27FC236}">
                  <a16:creationId xmlns:a16="http://schemas.microsoft.com/office/drawing/2014/main" id="{B80BA92B-2653-FF4E-ABF3-0C30E823BD23}"/>
                </a:ext>
              </a:extLst>
            </p:cNvPr>
            <p:cNvSpPr>
              <a:spLocks noChangeArrowheads="1"/>
            </p:cNvSpPr>
            <p:nvPr/>
          </p:nvSpPr>
          <p:spPr bwMode="auto">
            <a:xfrm>
              <a:off x="3562350" y="3786188"/>
              <a:ext cx="1069975" cy="1127125"/>
            </a:xfrm>
            <a:custGeom>
              <a:avLst/>
              <a:gdLst>
                <a:gd name="T0" fmla="*/ 2366 w 2971"/>
                <a:gd name="T1" fmla="*/ 1976 h 3132"/>
                <a:gd name="T2" fmla="*/ 1569 w 2971"/>
                <a:gd name="T3" fmla="*/ 2468 h 3132"/>
                <a:gd name="T4" fmla="*/ 716 w 2971"/>
                <a:gd name="T5" fmla="*/ 1556 h 3132"/>
                <a:gd name="T6" fmla="*/ 966 w 2971"/>
                <a:gd name="T7" fmla="*/ 910 h 3132"/>
                <a:gd name="T8" fmla="*/ 1593 w 2971"/>
                <a:gd name="T9" fmla="*/ 667 h 3132"/>
                <a:gd name="T10" fmla="*/ 2376 w 2971"/>
                <a:gd name="T11" fmla="*/ 1201 h 3132"/>
                <a:gd name="T12" fmla="*/ 2970 w 2971"/>
                <a:gd name="T13" fmla="*/ 871 h 3132"/>
                <a:gd name="T14" fmla="*/ 1576 w 2971"/>
                <a:gd name="T15" fmla="*/ 12 h 3132"/>
                <a:gd name="T16" fmla="*/ 11 w 2971"/>
                <a:gd name="T17" fmla="*/ 1545 h 3132"/>
                <a:gd name="T18" fmla="*/ 1559 w 2971"/>
                <a:gd name="T19" fmla="*/ 3123 h 3132"/>
                <a:gd name="T20" fmla="*/ 2950 w 2971"/>
                <a:gd name="T21" fmla="*/ 2314 h 3132"/>
                <a:gd name="T22" fmla="*/ 2379 w 2971"/>
                <a:gd name="T23" fmla="*/ 1977 h 3132"/>
                <a:gd name="T24" fmla="*/ 2366 w 2971"/>
                <a:gd name="T25" fmla="*/ 1976 h 3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1" h="3132">
                  <a:moveTo>
                    <a:pt x="2366" y="1976"/>
                  </a:moveTo>
                  <a:cubicBezTo>
                    <a:pt x="2256" y="2216"/>
                    <a:pt x="2006" y="2472"/>
                    <a:pt x="1569" y="2468"/>
                  </a:cubicBezTo>
                  <a:cubicBezTo>
                    <a:pt x="1072" y="2462"/>
                    <a:pt x="710" y="2081"/>
                    <a:pt x="716" y="1556"/>
                  </a:cubicBezTo>
                  <a:cubicBezTo>
                    <a:pt x="720" y="1300"/>
                    <a:pt x="815" y="1064"/>
                    <a:pt x="966" y="910"/>
                  </a:cubicBezTo>
                  <a:cubicBezTo>
                    <a:pt x="1138" y="742"/>
                    <a:pt x="1337" y="657"/>
                    <a:pt x="1593" y="667"/>
                  </a:cubicBezTo>
                  <a:cubicBezTo>
                    <a:pt x="1976" y="670"/>
                    <a:pt x="2254" y="891"/>
                    <a:pt x="2376" y="1201"/>
                  </a:cubicBezTo>
                  <a:lnTo>
                    <a:pt x="2970" y="871"/>
                  </a:lnTo>
                  <a:cubicBezTo>
                    <a:pt x="2716" y="350"/>
                    <a:pt x="2184" y="19"/>
                    <a:pt x="1576" y="12"/>
                  </a:cubicBezTo>
                  <a:cubicBezTo>
                    <a:pt x="696" y="0"/>
                    <a:pt x="22" y="683"/>
                    <a:pt x="11" y="1545"/>
                  </a:cubicBezTo>
                  <a:cubicBezTo>
                    <a:pt x="0" y="2384"/>
                    <a:pt x="634" y="3111"/>
                    <a:pt x="1559" y="3123"/>
                  </a:cubicBezTo>
                  <a:cubicBezTo>
                    <a:pt x="2184" y="3131"/>
                    <a:pt x="2691" y="2793"/>
                    <a:pt x="2950" y="2314"/>
                  </a:cubicBezTo>
                  <a:lnTo>
                    <a:pt x="2379" y="1977"/>
                  </a:lnTo>
                  <a:lnTo>
                    <a:pt x="2366" y="19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4">
              <a:extLst>
                <a:ext uri="{FF2B5EF4-FFF2-40B4-BE49-F238E27FC236}">
                  <a16:creationId xmlns:a16="http://schemas.microsoft.com/office/drawing/2014/main" id="{66CC0EB8-DD1B-0940-94D2-A50C3B189C76}"/>
                </a:ext>
              </a:extLst>
            </p:cNvPr>
            <p:cNvSpPr>
              <a:spLocks noChangeArrowheads="1"/>
            </p:cNvSpPr>
            <p:nvPr/>
          </p:nvSpPr>
          <p:spPr bwMode="auto">
            <a:xfrm>
              <a:off x="6546850" y="3575050"/>
              <a:ext cx="492125" cy="1338263"/>
            </a:xfrm>
            <a:custGeom>
              <a:avLst/>
              <a:gdLst>
                <a:gd name="T0" fmla="*/ 960 w 1365"/>
                <a:gd name="T1" fmla="*/ 3164 h 3718"/>
                <a:gd name="T2" fmla="*/ 753 w 1365"/>
                <a:gd name="T3" fmla="*/ 2983 h 3718"/>
                <a:gd name="T4" fmla="*/ 773 w 1365"/>
                <a:gd name="T5" fmla="*/ 1401 h 3718"/>
                <a:gd name="T6" fmla="*/ 1336 w 1365"/>
                <a:gd name="T7" fmla="*/ 1408 h 3718"/>
                <a:gd name="T8" fmla="*/ 1343 w 1365"/>
                <a:gd name="T9" fmla="*/ 860 h 3718"/>
                <a:gd name="T10" fmla="*/ 780 w 1365"/>
                <a:gd name="T11" fmla="*/ 853 h 3718"/>
                <a:gd name="T12" fmla="*/ 791 w 1365"/>
                <a:gd name="T13" fmla="*/ 9 h 3718"/>
                <a:gd name="T14" fmla="*/ 89 w 1365"/>
                <a:gd name="T15" fmla="*/ 0 h 3718"/>
                <a:gd name="T16" fmla="*/ 51 w 1365"/>
                <a:gd name="T17" fmla="*/ 2965 h 3718"/>
                <a:gd name="T18" fmla="*/ 683 w 1365"/>
                <a:gd name="T19" fmla="*/ 3708 h 3718"/>
                <a:gd name="T20" fmla="*/ 684 w 1365"/>
                <a:gd name="T21" fmla="*/ 3708 h 3718"/>
                <a:gd name="T22" fmla="*/ 1357 w 1365"/>
                <a:gd name="T23" fmla="*/ 3717 h 3718"/>
                <a:gd name="T24" fmla="*/ 1364 w 1365"/>
                <a:gd name="T25" fmla="*/ 3169 h 3718"/>
                <a:gd name="T26" fmla="*/ 960 w 1365"/>
                <a:gd name="T27" fmla="*/ 3164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5" h="3718">
                  <a:moveTo>
                    <a:pt x="960" y="3164"/>
                  </a:moveTo>
                  <a:cubicBezTo>
                    <a:pt x="960" y="3164"/>
                    <a:pt x="756" y="3164"/>
                    <a:pt x="753" y="2983"/>
                  </a:cubicBezTo>
                  <a:lnTo>
                    <a:pt x="773" y="1401"/>
                  </a:lnTo>
                  <a:lnTo>
                    <a:pt x="1336" y="1408"/>
                  </a:lnTo>
                  <a:lnTo>
                    <a:pt x="1343" y="860"/>
                  </a:lnTo>
                  <a:lnTo>
                    <a:pt x="780" y="853"/>
                  </a:lnTo>
                  <a:lnTo>
                    <a:pt x="791" y="9"/>
                  </a:lnTo>
                  <a:lnTo>
                    <a:pt x="89" y="0"/>
                  </a:lnTo>
                  <a:lnTo>
                    <a:pt x="51" y="2965"/>
                  </a:lnTo>
                  <a:cubicBezTo>
                    <a:pt x="51" y="2965"/>
                    <a:pt x="0" y="3701"/>
                    <a:pt x="683" y="3708"/>
                  </a:cubicBezTo>
                  <a:lnTo>
                    <a:pt x="684" y="3708"/>
                  </a:lnTo>
                  <a:lnTo>
                    <a:pt x="1357" y="3717"/>
                  </a:lnTo>
                  <a:lnTo>
                    <a:pt x="1364" y="3169"/>
                  </a:lnTo>
                  <a:lnTo>
                    <a:pt x="960" y="31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grpSp>
        <p:nvGrpSpPr>
          <p:cNvPr id="20" name="Group 19">
            <a:extLst>
              <a:ext uri="{FF2B5EF4-FFF2-40B4-BE49-F238E27FC236}">
                <a16:creationId xmlns:a16="http://schemas.microsoft.com/office/drawing/2014/main" id="{273F0343-B3BE-C446-B55C-93FBE994EA5C}"/>
              </a:ext>
            </a:extLst>
          </p:cNvPr>
          <p:cNvGrpSpPr/>
          <p:nvPr userDrawn="1"/>
        </p:nvGrpSpPr>
        <p:grpSpPr>
          <a:xfrm>
            <a:off x="-7916" y="0"/>
            <a:ext cx="12193199" cy="6868077"/>
            <a:chOff x="3392488" y="1893888"/>
            <a:chExt cx="1028700" cy="579437"/>
          </a:xfrm>
        </p:grpSpPr>
        <p:sp>
          <p:nvSpPr>
            <p:cNvPr id="21" name="Freeform 51">
              <a:extLst>
                <a:ext uri="{FF2B5EF4-FFF2-40B4-BE49-F238E27FC236}">
                  <a16:creationId xmlns:a16="http://schemas.microsoft.com/office/drawing/2014/main" id="{FCFCE84C-CDE7-3744-810F-43AE1870C3CA}"/>
                </a:ext>
              </a:extLst>
            </p:cNvPr>
            <p:cNvSpPr>
              <a:spLocks noChangeArrowheads="1"/>
            </p:cNvSpPr>
            <p:nvPr/>
          </p:nvSpPr>
          <p:spPr bwMode="auto">
            <a:xfrm>
              <a:off x="3770313" y="1893888"/>
              <a:ext cx="334962" cy="144462"/>
            </a:xfrm>
            <a:custGeom>
              <a:avLst/>
              <a:gdLst>
                <a:gd name="T0" fmla="*/ 50 w 932"/>
                <a:gd name="T1" fmla="*/ 260 h 400"/>
                <a:gd name="T2" fmla="*/ 345 w 932"/>
                <a:gd name="T3" fmla="*/ 339 h 400"/>
                <a:gd name="T4" fmla="*/ 931 w 932"/>
                <a:gd name="T5" fmla="*/ 0 h 400"/>
                <a:gd name="T6" fmla="*/ 83 w 932"/>
                <a:gd name="T7" fmla="*/ 0 h 400"/>
                <a:gd name="T8" fmla="*/ 50 w 932"/>
                <a:gd name="T9" fmla="*/ 260 h 400"/>
              </a:gdLst>
              <a:ahLst/>
              <a:cxnLst>
                <a:cxn ang="0">
                  <a:pos x="T0" y="T1"/>
                </a:cxn>
                <a:cxn ang="0">
                  <a:pos x="T2" y="T3"/>
                </a:cxn>
                <a:cxn ang="0">
                  <a:pos x="T4" y="T5"/>
                </a:cxn>
                <a:cxn ang="0">
                  <a:pos x="T6" y="T7"/>
                </a:cxn>
                <a:cxn ang="0">
                  <a:pos x="T8" y="T9"/>
                </a:cxn>
              </a:cxnLst>
              <a:rect l="0" t="0" r="r" b="b"/>
              <a:pathLst>
                <a:path w="932" h="400">
                  <a:moveTo>
                    <a:pt x="50" y="260"/>
                  </a:moveTo>
                  <a:cubicBezTo>
                    <a:pt x="110" y="363"/>
                    <a:pt x="242" y="399"/>
                    <a:pt x="345" y="339"/>
                  </a:cubicBezTo>
                  <a:lnTo>
                    <a:pt x="931" y="0"/>
                  </a:lnTo>
                  <a:lnTo>
                    <a:pt x="83" y="0"/>
                  </a:lnTo>
                  <a:cubicBezTo>
                    <a:pt x="17" y="68"/>
                    <a:pt x="0" y="174"/>
                    <a:pt x="50" y="260"/>
                  </a:cubicBezTo>
                </a:path>
              </a:pathLst>
            </a:custGeom>
            <a:solidFill>
              <a:schemeClr val="accent5">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2" name="Freeform 52">
              <a:extLst>
                <a:ext uri="{FF2B5EF4-FFF2-40B4-BE49-F238E27FC236}">
                  <a16:creationId xmlns:a16="http://schemas.microsoft.com/office/drawing/2014/main" id="{7314F9DB-E919-1A45-9020-493A66EC9F34}"/>
                </a:ext>
              </a:extLst>
            </p:cNvPr>
            <p:cNvSpPr>
              <a:spLocks noChangeArrowheads="1"/>
            </p:cNvSpPr>
            <p:nvPr/>
          </p:nvSpPr>
          <p:spPr bwMode="auto">
            <a:xfrm>
              <a:off x="3392488" y="2146300"/>
              <a:ext cx="77787" cy="153988"/>
            </a:xfrm>
            <a:custGeom>
              <a:avLst/>
              <a:gdLst>
                <a:gd name="T0" fmla="*/ 155 w 215"/>
                <a:gd name="T1" fmla="*/ 105 h 428"/>
                <a:gd name="T2" fmla="*/ 0 w 215"/>
                <a:gd name="T3" fmla="*/ 0 h 428"/>
                <a:gd name="T4" fmla="*/ 0 w 215"/>
                <a:gd name="T5" fmla="*/ 66 h 428"/>
                <a:gd name="T6" fmla="*/ 98 w 215"/>
                <a:gd name="T7" fmla="*/ 138 h 428"/>
                <a:gd name="T8" fmla="*/ 113 w 215"/>
                <a:gd name="T9" fmla="*/ 252 h 428"/>
                <a:gd name="T10" fmla="*/ 43 w 215"/>
                <a:gd name="T11" fmla="*/ 344 h 428"/>
                <a:gd name="T12" fmla="*/ 0 w 215"/>
                <a:gd name="T13" fmla="*/ 360 h 428"/>
                <a:gd name="T14" fmla="*/ 0 w 215"/>
                <a:gd name="T15" fmla="*/ 427 h 428"/>
                <a:gd name="T16" fmla="*/ 76 w 215"/>
                <a:gd name="T17" fmla="*/ 400 h 428"/>
                <a:gd name="T18" fmla="*/ 155 w 215"/>
                <a:gd name="T19" fmla="*/ 10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428">
                  <a:moveTo>
                    <a:pt x="155" y="105"/>
                  </a:moveTo>
                  <a:cubicBezTo>
                    <a:pt x="121" y="46"/>
                    <a:pt x="63" y="10"/>
                    <a:pt x="0" y="0"/>
                  </a:cubicBezTo>
                  <a:lnTo>
                    <a:pt x="0" y="66"/>
                  </a:lnTo>
                  <a:cubicBezTo>
                    <a:pt x="41" y="76"/>
                    <a:pt x="77" y="101"/>
                    <a:pt x="98" y="138"/>
                  </a:cubicBezTo>
                  <a:cubicBezTo>
                    <a:pt x="118" y="173"/>
                    <a:pt x="123" y="213"/>
                    <a:pt x="113" y="252"/>
                  </a:cubicBezTo>
                  <a:cubicBezTo>
                    <a:pt x="102" y="291"/>
                    <a:pt x="78" y="324"/>
                    <a:pt x="43" y="344"/>
                  </a:cubicBezTo>
                  <a:cubicBezTo>
                    <a:pt x="30" y="351"/>
                    <a:pt x="15" y="357"/>
                    <a:pt x="0" y="360"/>
                  </a:cubicBezTo>
                  <a:lnTo>
                    <a:pt x="0" y="427"/>
                  </a:lnTo>
                  <a:cubicBezTo>
                    <a:pt x="26" y="423"/>
                    <a:pt x="52" y="414"/>
                    <a:pt x="76" y="400"/>
                  </a:cubicBezTo>
                  <a:cubicBezTo>
                    <a:pt x="179" y="341"/>
                    <a:pt x="214" y="209"/>
                    <a:pt x="155" y="105"/>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3" name="Freeform 53">
              <a:extLst>
                <a:ext uri="{FF2B5EF4-FFF2-40B4-BE49-F238E27FC236}">
                  <a16:creationId xmlns:a16="http://schemas.microsoft.com/office/drawing/2014/main" id="{C1745C4C-6A7B-5A42-A524-AEB32093899C}"/>
                </a:ext>
              </a:extLst>
            </p:cNvPr>
            <p:cNvSpPr>
              <a:spLocks noChangeArrowheads="1"/>
            </p:cNvSpPr>
            <p:nvPr/>
          </p:nvSpPr>
          <p:spPr bwMode="auto">
            <a:xfrm>
              <a:off x="3892550" y="2281238"/>
              <a:ext cx="423863" cy="192087"/>
            </a:xfrm>
            <a:custGeom>
              <a:avLst/>
              <a:gdLst>
                <a:gd name="T0" fmla="*/ 1116 w 1176"/>
                <a:gd name="T1" fmla="*/ 139 h 535"/>
                <a:gd name="T2" fmla="*/ 821 w 1176"/>
                <a:gd name="T3" fmla="*/ 60 h 535"/>
                <a:gd name="T4" fmla="*/ 0 w 1176"/>
                <a:gd name="T5" fmla="*/ 534 h 535"/>
                <a:gd name="T6" fmla="*/ 864 w 1176"/>
                <a:gd name="T7" fmla="*/ 534 h 535"/>
                <a:gd name="T8" fmla="*/ 1037 w 1176"/>
                <a:gd name="T9" fmla="*/ 434 h 535"/>
                <a:gd name="T10" fmla="*/ 1116 w 1176"/>
                <a:gd name="T11" fmla="*/ 139 h 535"/>
              </a:gdLst>
              <a:ahLst/>
              <a:cxnLst>
                <a:cxn ang="0">
                  <a:pos x="T0" y="T1"/>
                </a:cxn>
                <a:cxn ang="0">
                  <a:pos x="T2" y="T3"/>
                </a:cxn>
                <a:cxn ang="0">
                  <a:pos x="T4" y="T5"/>
                </a:cxn>
                <a:cxn ang="0">
                  <a:pos x="T6" y="T7"/>
                </a:cxn>
                <a:cxn ang="0">
                  <a:pos x="T8" y="T9"/>
                </a:cxn>
                <a:cxn ang="0">
                  <a:pos x="T10" y="T11"/>
                </a:cxn>
              </a:cxnLst>
              <a:rect l="0" t="0" r="r" b="b"/>
              <a:pathLst>
                <a:path w="1176" h="535">
                  <a:moveTo>
                    <a:pt x="1116" y="139"/>
                  </a:moveTo>
                  <a:cubicBezTo>
                    <a:pt x="1056" y="35"/>
                    <a:pt x="924" y="0"/>
                    <a:pt x="821" y="60"/>
                  </a:cubicBezTo>
                  <a:lnTo>
                    <a:pt x="0" y="534"/>
                  </a:lnTo>
                  <a:lnTo>
                    <a:pt x="864" y="534"/>
                  </a:lnTo>
                  <a:lnTo>
                    <a:pt x="1037" y="434"/>
                  </a:lnTo>
                  <a:cubicBezTo>
                    <a:pt x="1140" y="374"/>
                    <a:pt x="1175" y="242"/>
                    <a:pt x="1116" y="139"/>
                  </a:cubicBezTo>
                </a:path>
              </a:pathLst>
            </a:custGeom>
            <a:solidFill>
              <a:schemeClr val="accent3">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4" name="Freeform 54">
              <a:extLst>
                <a:ext uri="{FF2B5EF4-FFF2-40B4-BE49-F238E27FC236}">
                  <a16:creationId xmlns:a16="http://schemas.microsoft.com/office/drawing/2014/main" id="{282EB2F5-8603-6B41-BDA3-1BE2B683FA75}"/>
                </a:ext>
              </a:extLst>
            </p:cNvPr>
            <p:cNvSpPr>
              <a:spLocks noChangeArrowheads="1"/>
            </p:cNvSpPr>
            <p:nvPr/>
          </p:nvSpPr>
          <p:spPr bwMode="auto">
            <a:xfrm>
              <a:off x="4327525" y="2182813"/>
              <a:ext cx="93663" cy="155575"/>
            </a:xfrm>
            <a:custGeom>
              <a:avLst/>
              <a:gdLst>
                <a:gd name="T0" fmla="*/ 139 w 258"/>
                <a:gd name="T1" fmla="*/ 29 h 433"/>
                <a:gd name="T2" fmla="*/ 60 w 258"/>
                <a:gd name="T3" fmla="*/ 324 h 433"/>
                <a:gd name="T4" fmla="*/ 247 w 258"/>
                <a:gd name="T5" fmla="*/ 432 h 433"/>
                <a:gd name="T6" fmla="*/ 257 w 258"/>
                <a:gd name="T7" fmla="*/ 432 h 433"/>
                <a:gd name="T8" fmla="*/ 257 w 258"/>
                <a:gd name="T9" fmla="*/ 366 h 433"/>
                <a:gd name="T10" fmla="*/ 247 w 258"/>
                <a:gd name="T11" fmla="*/ 367 h 433"/>
                <a:gd name="T12" fmla="*/ 116 w 258"/>
                <a:gd name="T13" fmla="*/ 291 h 433"/>
                <a:gd name="T14" fmla="*/ 101 w 258"/>
                <a:gd name="T15" fmla="*/ 177 h 433"/>
                <a:gd name="T16" fmla="*/ 171 w 258"/>
                <a:gd name="T17" fmla="*/ 86 h 433"/>
                <a:gd name="T18" fmla="*/ 247 w 258"/>
                <a:gd name="T19" fmla="*/ 66 h 433"/>
                <a:gd name="T20" fmla="*/ 247 w 258"/>
                <a:gd name="T21" fmla="*/ 66 h 433"/>
                <a:gd name="T22" fmla="*/ 257 w 258"/>
                <a:gd name="T23" fmla="*/ 66 h 433"/>
                <a:gd name="T24" fmla="*/ 257 w 258"/>
                <a:gd name="T25" fmla="*/ 0 h 433"/>
                <a:gd name="T26" fmla="*/ 247 w 258"/>
                <a:gd name="T27" fmla="*/ 0 h 433"/>
                <a:gd name="T28" fmla="*/ 139 w 258"/>
                <a:gd name="T29" fmla="*/ 29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433">
                  <a:moveTo>
                    <a:pt x="139" y="29"/>
                  </a:moveTo>
                  <a:cubicBezTo>
                    <a:pt x="36" y="89"/>
                    <a:pt x="0" y="221"/>
                    <a:pt x="60" y="324"/>
                  </a:cubicBezTo>
                  <a:cubicBezTo>
                    <a:pt x="100" y="393"/>
                    <a:pt x="172" y="432"/>
                    <a:pt x="247" y="432"/>
                  </a:cubicBezTo>
                  <a:cubicBezTo>
                    <a:pt x="250" y="432"/>
                    <a:pt x="253" y="432"/>
                    <a:pt x="257" y="432"/>
                  </a:cubicBezTo>
                  <a:lnTo>
                    <a:pt x="257" y="366"/>
                  </a:lnTo>
                  <a:cubicBezTo>
                    <a:pt x="253" y="367"/>
                    <a:pt x="250" y="367"/>
                    <a:pt x="247" y="367"/>
                  </a:cubicBezTo>
                  <a:cubicBezTo>
                    <a:pt x="193" y="367"/>
                    <a:pt x="143" y="338"/>
                    <a:pt x="116" y="291"/>
                  </a:cubicBezTo>
                  <a:cubicBezTo>
                    <a:pt x="96" y="257"/>
                    <a:pt x="90" y="216"/>
                    <a:pt x="101" y="177"/>
                  </a:cubicBezTo>
                  <a:cubicBezTo>
                    <a:pt x="111" y="138"/>
                    <a:pt x="137" y="106"/>
                    <a:pt x="171" y="86"/>
                  </a:cubicBezTo>
                  <a:cubicBezTo>
                    <a:pt x="194" y="73"/>
                    <a:pt x="220" y="66"/>
                    <a:pt x="247" y="66"/>
                  </a:cubicBezTo>
                  <a:lnTo>
                    <a:pt x="247" y="66"/>
                  </a:lnTo>
                  <a:cubicBezTo>
                    <a:pt x="250" y="66"/>
                    <a:pt x="253" y="66"/>
                    <a:pt x="257" y="66"/>
                  </a:cubicBezTo>
                  <a:lnTo>
                    <a:pt x="257" y="0"/>
                  </a:lnTo>
                  <a:cubicBezTo>
                    <a:pt x="253" y="0"/>
                    <a:pt x="250" y="0"/>
                    <a:pt x="247" y="0"/>
                  </a:cubicBezTo>
                  <a:cubicBezTo>
                    <a:pt x="210" y="0"/>
                    <a:pt x="173" y="9"/>
                    <a:pt x="139" y="29"/>
                  </a:cubicBezTo>
                </a:path>
              </a:pathLst>
            </a:custGeom>
            <a:solidFill>
              <a:schemeClr val="accent3">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2469079501"/>
      </p:ext>
    </p:extLst>
  </p:cSld>
  <p:clrMapOvr>
    <a:masterClrMapping/>
  </p:clrMapOvr>
  <p:extLst>
    <p:ext uri="{DCECCB84-F9BA-43D5-87BE-67443E8EF086}">
      <p15:sldGuideLst xmlns:p15="http://schemas.microsoft.com/office/powerpoint/2012/main">
        <p15:guide id="1" orient="horz" pos="3703">
          <p15:clr>
            <a:srgbClr val="FBAE40"/>
          </p15:clr>
        </p15:guide>
        <p15:guide id="2" pos="442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Call-out + image v1a">
    <p:spTree>
      <p:nvGrpSpPr>
        <p:cNvPr id="1" name=""/>
        <p:cNvGrpSpPr/>
        <p:nvPr/>
      </p:nvGrpSpPr>
      <p:grpSpPr>
        <a:xfrm>
          <a:off x="0" y="0"/>
          <a:ext cx="0" cy="0"/>
          <a:chOff x="0" y="0"/>
          <a:chExt cx="0" cy="0"/>
        </a:xfrm>
      </p:grpSpPr>
      <p:sp>
        <p:nvSpPr>
          <p:cNvPr id="2" name="Title 1"/>
          <p:cNvSpPr>
            <a:spLocks noGrp="1"/>
          </p:cNvSpPr>
          <p:nvPr>
            <p:ph type="ctrTitle"/>
          </p:nvPr>
        </p:nvSpPr>
        <p:spPr>
          <a:xfrm>
            <a:off x="468000" y="457200"/>
            <a:ext cx="5155200" cy="457200"/>
          </a:xfrm>
        </p:spPr>
        <p:txBody>
          <a:bodyPr vert="horz" lIns="0" tIns="0" rIns="0" bIns="0" rtlCol="0" anchor="t" anchorCtr="0">
            <a:noAutofit/>
          </a:bodyPr>
          <a:lstStyle>
            <a:lvl1pPr algn="l">
              <a:lnSpc>
                <a:spcPts val="2120"/>
              </a:lnSpc>
              <a:defRPr lang="en-GB" noProof="0" dirty="0"/>
            </a:lvl1pPr>
          </a:lstStyle>
          <a:p>
            <a:pPr lvl="0"/>
            <a:r>
              <a:rPr lang="en-US" noProof="0" dirty="0"/>
              <a:t>Click to edit Master title style</a:t>
            </a:r>
            <a:endParaRPr lang="en-GB" noProof="0" dirty="0"/>
          </a:p>
        </p:txBody>
      </p:sp>
      <p:sp>
        <p:nvSpPr>
          <p:cNvPr id="6" name="Footer Placeholder 5">
            <a:extLst>
              <a:ext uri="{FF2B5EF4-FFF2-40B4-BE49-F238E27FC236}">
                <a16:creationId xmlns:a16="http://schemas.microsoft.com/office/drawing/2014/main" id="{184F4E7D-A950-4778-8BC5-6A7D69AFC0FB}"/>
              </a:ext>
            </a:extLst>
          </p:cNvPr>
          <p:cNvSpPr>
            <a:spLocks noGrp="1"/>
          </p:cNvSpPr>
          <p:nvPr>
            <p:ph type="ftr" sz="quarter" idx="13"/>
          </p:nvPr>
        </p:nvSpPr>
        <p:spPr/>
        <p:txBody>
          <a:bodyPr/>
          <a:lstStyle/>
          <a:p>
            <a:pPr algn="l">
              <a:lnSpc>
                <a:spcPts val="970"/>
              </a:lnSpc>
            </a:pPr>
            <a:r>
              <a:rPr lang="en-GB" dirty="0"/>
              <a:t>© Colt Technology Services  |  Presentation title here</a:t>
            </a:r>
          </a:p>
        </p:txBody>
      </p:sp>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sp>
        <p:nvSpPr>
          <p:cNvPr id="10" name="Text Placeholder 9">
            <a:extLst>
              <a:ext uri="{FF2B5EF4-FFF2-40B4-BE49-F238E27FC236}">
                <a16:creationId xmlns:a16="http://schemas.microsoft.com/office/drawing/2014/main" id="{40C6BB52-481B-46AE-9210-2C30607BF2FD}"/>
              </a:ext>
            </a:extLst>
          </p:cNvPr>
          <p:cNvSpPr>
            <a:spLocks noGrp="1"/>
          </p:cNvSpPr>
          <p:nvPr>
            <p:ph type="body" sz="quarter" idx="15"/>
          </p:nvPr>
        </p:nvSpPr>
        <p:spPr>
          <a:xfrm>
            <a:off x="468313" y="1224000"/>
            <a:ext cx="4224337" cy="3348037"/>
          </a:xfrm>
        </p:spPr>
        <p:txBody>
          <a:bodyPr/>
          <a:lstStyle>
            <a:lvl1pPr>
              <a:lnSpc>
                <a:spcPts val="6800"/>
              </a:lnSpc>
              <a:spcAft>
                <a:spcPts val="0"/>
              </a:spcAft>
              <a:defRPr sz="5890"/>
            </a:lvl1pPr>
          </a:lstStyle>
          <a:p>
            <a:pPr lvl="0"/>
            <a:r>
              <a:rPr lang="en-US" dirty="0"/>
              <a:t>Click to edit Master text styles</a:t>
            </a:r>
            <a:endParaRPr lang="en-GB" dirty="0"/>
          </a:p>
        </p:txBody>
      </p:sp>
      <p:pic>
        <p:nvPicPr>
          <p:cNvPr id="23" name="Picture 22">
            <a:extLst>
              <a:ext uri="{FF2B5EF4-FFF2-40B4-BE49-F238E27FC236}">
                <a16:creationId xmlns:a16="http://schemas.microsoft.com/office/drawing/2014/main" id="{B756B027-2E97-1C44-BE40-4B1D5C1F39B6}"/>
              </a:ext>
            </a:extLst>
          </p:cNvPr>
          <p:cNvPicPr>
            <a:picLocks noChangeAspect="1"/>
          </p:cNvPicPr>
          <p:nvPr userDrawn="1"/>
        </p:nvPicPr>
        <p:blipFill>
          <a:blip r:embed="rId2"/>
          <a:stretch>
            <a:fillRect/>
          </a:stretch>
        </p:blipFill>
        <p:spPr>
          <a:xfrm>
            <a:off x="4699000" y="0"/>
            <a:ext cx="7493000" cy="6413500"/>
          </a:xfrm>
          <a:prstGeom prst="rect">
            <a:avLst/>
          </a:prstGeom>
        </p:spPr>
      </p:pic>
      <p:grpSp>
        <p:nvGrpSpPr>
          <p:cNvPr id="24" name="Group 23">
            <a:extLst>
              <a:ext uri="{FF2B5EF4-FFF2-40B4-BE49-F238E27FC236}">
                <a16:creationId xmlns:a16="http://schemas.microsoft.com/office/drawing/2014/main" id="{65027E41-C3A3-DE4C-B7F5-09887B71AD92}"/>
              </a:ext>
            </a:extLst>
          </p:cNvPr>
          <p:cNvGrpSpPr/>
          <p:nvPr userDrawn="1"/>
        </p:nvGrpSpPr>
        <p:grpSpPr>
          <a:xfrm>
            <a:off x="4481600" y="0"/>
            <a:ext cx="7731569" cy="6899822"/>
            <a:chOff x="1639888" y="5257800"/>
            <a:chExt cx="649287" cy="579438"/>
          </a:xfrm>
        </p:grpSpPr>
        <p:sp>
          <p:nvSpPr>
            <p:cNvPr id="25" name="Freeform 128">
              <a:extLst>
                <a:ext uri="{FF2B5EF4-FFF2-40B4-BE49-F238E27FC236}">
                  <a16:creationId xmlns:a16="http://schemas.microsoft.com/office/drawing/2014/main" id="{F7EF07B7-E364-1D40-B691-4C49105CAFD3}"/>
                </a:ext>
              </a:extLst>
            </p:cNvPr>
            <p:cNvSpPr>
              <a:spLocks noChangeArrowheads="1"/>
            </p:cNvSpPr>
            <p:nvPr/>
          </p:nvSpPr>
          <p:spPr bwMode="auto">
            <a:xfrm>
              <a:off x="2197100" y="5545138"/>
              <a:ext cx="92075" cy="157162"/>
            </a:xfrm>
            <a:custGeom>
              <a:avLst/>
              <a:gdLst>
                <a:gd name="T0" fmla="*/ 139 w 257"/>
                <a:gd name="T1" fmla="*/ 31 h 438"/>
                <a:gd name="T2" fmla="*/ 59 w 257"/>
                <a:gd name="T3" fmla="*/ 326 h 438"/>
                <a:gd name="T4" fmla="*/ 256 w 257"/>
                <a:gd name="T5" fmla="*/ 433 h 438"/>
                <a:gd name="T6" fmla="*/ 256 w 257"/>
                <a:gd name="T7" fmla="*/ 2 h 438"/>
                <a:gd name="T8" fmla="*/ 139 w 257"/>
                <a:gd name="T9" fmla="*/ 31 h 438"/>
              </a:gdLst>
              <a:ahLst/>
              <a:cxnLst>
                <a:cxn ang="0">
                  <a:pos x="T0" y="T1"/>
                </a:cxn>
                <a:cxn ang="0">
                  <a:pos x="T2" y="T3"/>
                </a:cxn>
                <a:cxn ang="0">
                  <a:pos x="T4" y="T5"/>
                </a:cxn>
                <a:cxn ang="0">
                  <a:pos x="T6" y="T7"/>
                </a:cxn>
                <a:cxn ang="0">
                  <a:pos x="T8" y="T9"/>
                </a:cxn>
              </a:cxnLst>
              <a:rect l="0" t="0" r="r" b="b"/>
              <a:pathLst>
                <a:path w="257" h="438">
                  <a:moveTo>
                    <a:pt x="139" y="31"/>
                  </a:moveTo>
                  <a:cubicBezTo>
                    <a:pt x="35" y="90"/>
                    <a:pt x="0" y="222"/>
                    <a:pt x="59" y="326"/>
                  </a:cubicBezTo>
                  <a:cubicBezTo>
                    <a:pt x="101" y="398"/>
                    <a:pt x="178" y="437"/>
                    <a:pt x="256" y="433"/>
                  </a:cubicBezTo>
                  <a:lnTo>
                    <a:pt x="256" y="2"/>
                  </a:lnTo>
                  <a:cubicBezTo>
                    <a:pt x="217" y="0"/>
                    <a:pt x="176" y="9"/>
                    <a:pt x="139" y="31"/>
                  </a:cubicBezTo>
                </a:path>
              </a:pathLst>
            </a:custGeom>
            <a:solidFill>
              <a:srgbClr val="00E6C7">
                <a:alpha val="70000"/>
              </a:srgb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6" name="Freeform 129">
              <a:extLst>
                <a:ext uri="{FF2B5EF4-FFF2-40B4-BE49-F238E27FC236}">
                  <a16:creationId xmlns:a16="http://schemas.microsoft.com/office/drawing/2014/main" id="{37F55FBA-4CC7-DC44-B025-AF3F08EBB050}"/>
                </a:ext>
              </a:extLst>
            </p:cNvPr>
            <p:cNvSpPr>
              <a:spLocks noChangeArrowheads="1"/>
            </p:cNvSpPr>
            <p:nvPr/>
          </p:nvSpPr>
          <p:spPr bwMode="auto">
            <a:xfrm>
              <a:off x="1639888" y="5257800"/>
              <a:ext cx="174625" cy="131763"/>
            </a:xfrm>
            <a:custGeom>
              <a:avLst/>
              <a:gdLst>
                <a:gd name="T0" fmla="*/ 50 w 484"/>
                <a:gd name="T1" fmla="*/ 259 h 368"/>
                <a:gd name="T2" fmla="*/ 237 w 484"/>
                <a:gd name="T3" fmla="*/ 367 h 368"/>
                <a:gd name="T4" fmla="*/ 345 w 484"/>
                <a:gd name="T5" fmla="*/ 338 h 368"/>
                <a:gd name="T6" fmla="*/ 424 w 484"/>
                <a:gd name="T7" fmla="*/ 43 h 368"/>
                <a:gd name="T8" fmla="*/ 391 w 484"/>
                <a:gd name="T9" fmla="*/ 0 h 368"/>
                <a:gd name="T10" fmla="*/ 83 w 484"/>
                <a:gd name="T11" fmla="*/ 0 h 368"/>
                <a:gd name="T12" fmla="*/ 50 w 484"/>
                <a:gd name="T13" fmla="*/ 259 h 368"/>
                <a:gd name="T14" fmla="*/ 91 w 484"/>
                <a:gd name="T15" fmla="*/ 112 h 368"/>
                <a:gd name="T16" fmla="*/ 161 w 484"/>
                <a:gd name="T17" fmla="*/ 21 h 368"/>
                <a:gd name="T18" fmla="*/ 237 w 484"/>
                <a:gd name="T19" fmla="*/ 1 h 368"/>
                <a:gd name="T20" fmla="*/ 237 w 484"/>
                <a:gd name="T21" fmla="*/ 1 h 368"/>
                <a:gd name="T22" fmla="*/ 367 w 484"/>
                <a:gd name="T23" fmla="*/ 76 h 368"/>
                <a:gd name="T24" fmla="*/ 382 w 484"/>
                <a:gd name="T25" fmla="*/ 190 h 368"/>
                <a:gd name="T26" fmla="*/ 312 w 484"/>
                <a:gd name="T27" fmla="*/ 282 h 368"/>
                <a:gd name="T28" fmla="*/ 237 w 484"/>
                <a:gd name="T29" fmla="*/ 302 h 368"/>
                <a:gd name="T30" fmla="*/ 106 w 484"/>
                <a:gd name="T31" fmla="*/ 227 h 368"/>
                <a:gd name="T32" fmla="*/ 91 w 484"/>
                <a:gd name="T33"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368">
                  <a:moveTo>
                    <a:pt x="50" y="259"/>
                  </a:moveTo>
                  <a:cubicBezTo>
                    <a:pt x="90" y="329"/>
                    <a:pt x="162" y="367"/>
                    <a:pt x="237" y="367"/>
                  </a:cubicBezTo>
                  <a:cubicBezTo>
                    <a:pt x="274" y="367"/>
                    <a:pt x="311" y="358"/>
                    <a:pt x="345" y="338"/>
                  </a:cubicBezTo>
                  <a:cubicBezTo>
                    <a:pt x="448" y="279"/>
                    <a:pt x="483" y="147"/>
                    <a:pt x="424" y="43"/>
                  </a:cubicBezTo>
                  <a:cubicBezTo>
                    <a:pt x="414" y="27"/>
                    <a:pt x="403" y="13"/>
                    <a:pt x="391" y="0"/>
                  </a:cubicBezTo>
                  <a:lnTo>
                    <a:pt x="83" y="0"/>
                  </a:lnTo>
                  <a:cubicBezTo>
                    <a:pt x="16" y="67"/>
                    <a:pt x="0" y="173"/>
                    <a:pt x="50" y="259"/>
                  </a:cubicBezTo>
                  <a:close/>
                  <a:moveTo>
                    <a:pt x="91" y="112"/>
                  </a:moveTo>
                  <a:cubicBezTo>
                    <a:pt x="102" y="73"/>
                    <a:pt x="127" y="41"/>
                    <a:pt x="161" y="21"/>
                  </a:cubicBezTo>
                  <a:cubicBezTo>
                    <a:pt x="184" y="8"/>
                    <a:pt x="210" y="1"/>
                    <a:pt x="237" y="1"/>
                  </a:cubicBezTo>
                  <a:lnTo>
                    <a:pt x="237" y="1"/>
                  </a:lnTo>
                  <a:cubicBezTo>
                    <a:pt x="290" y="1"/>
                    <a:pt x="340" y="30"/>
                    <a:pt x="367" y="76"/>
                  </a:cubicBezTo>
                  <a:cubicBezTo>
                    <a:pt x="387" y="111"/>
                    <a:pt x="393" y="151"/>
                    <a:pt x="382" y="190"/>
                  </a:cubicBezTo>
                  <a:cubicBezTo>
                    <a:pt x="372" y="229"/>
                    <a:pt x="347" y="262"/>
                    <a:pt x="312" y="282"/>
                  </a:cubicBezTo>
                  <a:cubicBezTo>
                    <a:pt x="289" y="295"/>
                    <a:pt x="263" y="302"/>
                    <a:pt x="237" y="302"/>
                  </a:cubicBezTo>
                  <a:cubicBezTo>
                    <a:pt x="183" y="302"/>
                    <a:pt x="133" y="273"/>
                    <a:pt x="106" y="227"/>
                  </a:cubicBezTo>
                  <a:cubicBezTo>
                    <a:pt x="86" y="192"/>
                    <a:pt x="81" y="151"/>
                    <a:pt x="91" y="112"/>
                  </a:cubicBezTo>
                  <a:close/>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7" name="Freeform 130">
              <a:extLst>
                <a:ext uri="{FF2B5EF4-FFF2-40B4-BE49-F238E27FC236}">
                  <a16:creationId xmlns:a16="http://schemas.microsoft.com/office/drawing/2014/main" id="{CECC3F09-9F91-D649-9C6A-8F3FA35FCD1D}"/>
                </a:ext>
              </a:extLst>
            </p:cNvPr>
            <p:cNvSpPr>
              <a:spLocks noChangeArrowheads="1"/>
            </p:cNvSpPr>
            <p:nvPr/>
          </p:nvSpPr>
          <p:spPr bwMode="auto">
            <a:xfrm>
              <a:off x="1760538" y="5699125"/>
              <a:ext cx="323850" cy="138113"/>
            </a:xfrm>
            <a:custGeom>
              <a:avLst/>
              <a:gdLst>
                <a:gd name="T0" fmla="*/ 851 w 898"/>
                <a:gd name="T1" fmla="*/ 139 h 382"/>
                <a:gd name="T2" fmla="*/ 556 w 898"/>
                <a:gd name="T3" fmla="*/ 60 h 382"/>
                <a:gd name="T4" fmla="*/ 0 w 898"/>
                <a:gd name="T5" fmla="*/ 381 h 382"/>
                <a:gd name="T6" fmla="*/ 833 w 898"/>
                <a:gd name="T7" fmla="*/ 381 h 382"/>
                <a:gd name="T8" fmla="*/ 851 w 898"/>
                <a:gd name="T9" fmla="*/ 139 h 382"/>
              </a:gdLst>
              <a:ahLst/>
              <a:cxnLst>
                <a:cxn ang="0">
                  <a:pos x="T0" y="T1"/>
                </a:cxn>
                <a:cxn ang="0">
                  <a:pos x="T2" y="T3"/>
                </a:cxn>
                <a:cxn ang="0">
                  <a:pos x="T4" y="T5"/>
                </a:cxn>
                <a:cxn ang="0">
                  <a:pos x="T6" y="T7"/>
                </a:cxn>
                <a:cxn ang="0">
                  <a:pos x="T8" y="T9"/>
                </a:cxn>
              </a:cxnLst>
              <a:rect l="0" t="0" r="r" b="b"/>
              <a:pathLst>
                <a:path w="898" h="382">
                  <a:moveTo>
                    <a:pt x="851" y="139"/>
                  </a:moveTo>
                  <a:cubicBezTo>
                    <a:pt x="791" y="35"/>
                    <a:pt x="659" y="0"/>
                    <a:pt x="556" y="60"/>
                  </a:cubicBezTo>
                  <a:lnTo>
                    <a:pt x="0" y="381"/>
                  </a:lnTo>
                  <a:lnTo>
                    <a:pt x="833" y="381"/>
                  </a:lnTo>
                  <a:cubicBezTo>
                    <a:pt x="887" y="314"/>
                    <a:pt x="897" y="218"/>
                    <a:pt x="851" y="139"/>
                  </a:cubicBezTo>
                </a:path>
              </a:pathLst>
            </a:custGeom>
            <a:solidFill>
              <a:srgbClr val="00E6C7">
                <a:alpha val="40000"/>
              </a:srgb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1058895015"/>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all-out + image v3a">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938B4FD-2CE2-45C1-BDC4-8390A11F0B46}"/>
              </a:ext>
            </a:extLst>
          </p:cNvPr>
          <p:cNvSpPr>
            <a:spLocks noGrp="1"/>
          </p:cNvSpPr>
          <p:nvPr>
            <p:ph type="pic" sz="quarter" idx="16"/>
          </p:nvPr>
        </p:nvSpPr>
        <p:spPr>
          <a:xfrm>
            <a:off x="5774400" y="457200"/>
            <a:ext cx="5943600" cy="5943600"/>
          </a:xfrm>
          <a:prstGeom prst="ellipse">
            <a:avLst/>
          </a:prstGeom>
          <a:solidFill>
            <a:schemeClr val="accent1">
              <a:alpha val="15000"/>
            </a:schemeClr>
          </a:solidFill>
        </p:spPr>
        <p:txBody>
          <a:bodyPr/>
          <a:lstStyle>
            <a:lvl1pPr algn="ctr">
              <a:defRPr/>
            </a:lvl1pPr>
          </a:lstStyle>
          <a:p>
            <a:endParaRPr lang="en-GB" dirty="0"/>
          </a:p>
        </p:txBody>
      </p:sp>
      <p:sp>
        <p:nvSpPr>
          <p:cNvPr id="2" name="Title 1"/>
          <p:cNvSpPr>
            <a:spLocks noGrp="1"/>
          </p:cNvSpPr>
          <p:nvPr>
            <p:ph type="ctrTitle"/>
          </p:nvPr>
        </p:nvSpPr>
        <p:spPr>
          <a:xfrm>
            <a:off x="468000" y="457200"/>
            <a:ext cx="5155200" cy="457200"/>
          </a:xfrm>
        </p:spPr>
        <p:txBody>
          <a:bodyPr vert="horz" lIns="0" tIns="0" rIns="0" bIns="0" rtlCol="0" anchor="t" anchorCtr="0">
            <a:noAutofit/>
          </a:bodyPr>
          <a:lstStyle>
            <a:lvl1pPr algn="l">
              <a:lnSpc>
                <a:spcPts val="2120"/>
              </a:lnSpc>
              <a:defRPr lang="en-GB" noProof="0" dirty="0"/>
            </a:lvl1pPr>
          </a:lstStyle>
          <a:p>
            <a:pPr lvl="0"/>
            <a:r>
              <a:rPr lang="en-US" noProof="0" dirty="0"/>
              <a:t>Click to edit Master title style</a:t>
            </a:r>
            <a:endParaRPr lang="en-GB" noProof="0" dirty="0"/>
          </a:p>
        </p:txBody>
      </p:sp>
      <p:sp>
        <p:nvSpPr>
          <p:cNvPr id="6" name="Footer Placeholder 5">
            <a:extLst>
              <a:ext uri="{FF2B5EF4-FFF2-40B4-BE49-F238E27FC236}">
                <a16:creationId xmlns:a16="http://schemas.microsoft.com/office/drawing/2014/main" id="{184F4E7D-A950-4778-8BC5-6A7D69AFC0FB}"/>
              </a:ext>
            </a:extLst>
          </p:cNvPr>
          <p:cNvSpPr>
            <a:spLocks noGrp="1"/>
          </p:cNvSpPr>
          <p:nvPr>
            <p:ph type="ftr" sz="quarter" idx="13"/>
          </p:nvPr>
        </p:nvSpPr>
        <p:spPr/>
        <p:txBody>
          <a:bodyPr/>
          <a:lstStyle/>
          <a:p>
            <a:pPr algn="l">
              <a:lnSpc>
                <a:spcPts val="970"/>
              </a:lnSpc>
            </a:pPr>
            <a:r>
              <a:rPr lang="en-GB" dirty="0"/>
              <a:t>© Colt Technology Services  |  Presentation title here</a:t>
            </a:r>
          </a:p>
        </p:txBody>
      </p:sp>
      <p:sp>
        <p:nvSpPr>
          <p:cNvPr id="10" name="Text Placeholder 9">
            <a:extLst>
              <a:ext uri="{FF2B5EF4-FFF2-40B4-BE49-F238E27FC236}">
                <a16:creationId xmlns:a16="http://schemas.microsoft.com/office/drawing/2014/main" id="{40C6BB52-481B-46AE-9210-2C30607BF2FD}"/>
              </a:ext>
            </a:extLst>
          </p:cNvPr>
          <p:cNvSpPr>
            <a:spLocks noGrp="1"/>
          </p:cNvSpPr>
          <p:nvPr>
            <p:ph type="body" sz="quarter" idx="15"/>
          </p:nvPr>
        </p:nvSpPr>
        <p:spPr>
          <a:xfrm>
            <a:off x="468313" y="1224000"/>
            <a:ext cx="4224337" cy="3348037"/>
          </a:xfrm>
        </p:spPr>
        <p:txBody>
          <a:bodyPr/>
          <a:lstStyle>
            <a:lvl1pPr>
              <a:lnSpc>
                <a:spcPts val="6800"/>
              </a:lnSpc>
              <a:spcAft>
                <a:spcPts val="0"/>
              </a:spcAft>
              <a:defRPr sz="5890"/>
            </a:lvl1pPr>
          </a:lstStyle>
          <a:p>
            <a:pPr lvl="0"/>
            <a:r>
              <a:rPr lang="en-US" dirty="0"/>
              <a:t>Click to edit Master text styles</a:t>
            </a:r>
            <a:endParaRPr lang="en-GB" dirty="0"/>
          </a:p>
        </p:txBody>
      </p:sp>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grpSp>
        <p:nvGrpSpPr>
          <p:cNvPr id="8" name="Group 7">
            <a:extLst>
              <a:ext uri="{FF2B5EF4-FFF2-40B4-BE49-F238E27FC236}">
                <a16:creationId xmlns:a16="http://schemas.microsoft.com/office/drawing/2014/main" id="{01F8BDBD-1E4F-5547-A87D-EF2CD4D3F407}"/>
              </a:ext>
            </a:extLst>
          </p:cNvPr>
          <p:cNvGrpSpPr/>
          <p:nvPr userDrawn="1"/>
        </p:nvGrpSpPr>
        <p:grpSpPr>
          <a:xfrm>
            <a:off x="4492916" y="-11873"/>
            <a:ext cx="7699669" cy="6871354"/>
            <a:chOff x="1639888" y="5257800"/>
            <a:chExt cx="649287" cy="579438"/>
          </a:xfrm>
        </p:grpSpPr>
        <p:sp>
          <p:nvSpPr>
            <p:cNvPr id="9" name="Freeform 128">
              <a:extLst>
                <a:ext uri="{FF2B5EF4-FFF2-40B4-BE49-F238E27FC236}">
                  <a16:creationId xmlns:a16="http://schemas.microsoft.com/office/drawing/2014/main" id="{6EB0482E-C29D-2141-A15D-5CDB6E19C768}"/>
                </a:ext>
              </a:extLst>
            </p:cNvPr>
            <p:cNvSpPr>
              <a:spLocks noChangeArrowheads="1"/>
            </p:cNvSpPr>
            <p:nvPr/>
          </p:nvSpPr>
          <p:spPr bwMode="auto">
            <a:xfrm>
              <a:off x="2197100" y="5545138"/>
              <a:ext cx="92075" cy="157162"/>
            </a:xfrm>
            <a:custGeom>
              <a:avLst/>
              <a:gdLst>
                <a:gd name="T0" fmla="*/ 139 w 257"/>
                <a:gd name="T1" fmla="*/ 31 h 438"/>
                <a:gd name="T2" fmla="*/ 59 w 257"/>
                <a:gd name="T3" fmla="*/ 326 h 438"/>
                <a:gd name="T4" fmla="*/ 256 w 257"/>
                <a:gd name="T5" fmla="*/ 433 h 438"/>
                <a:gd name="T6" fmla="*/ 256 w 257"/>
                <a:gd name="T7" fmla="*/ 2 h 438"/>
                <a:gd name="T8" fmla="*/ 139 w 257"/>
                <a:gd name="T9" fmla="*/ 31 h 438"/>
              </a:gdLst>
              <a:ahLst/>
              <a:cxnLst>
                <a:cxn ang="0">
                  <a:pos x="T0" y="T1"/>
                </a:cxn>
                <a:cxn ang="0">
                  <a:pos x="T2" y="T3"/>
                </a:cxn>
                <a:cxn ang="0">
                  <a:pos x="T4" y="T5"/>
                </a:cxn>
                <a:cxn ang="0">
                  <a:pos x="T6" y="T7"/>
                </a:cxn>
                <a:cxn ang="0">
                  <a:pos x="T8" y="T9"/>
                </a:cxn>
              </a:cxnLst>
              <a:rect l="0" t="0" r="r" b="b"/>
              <a:pathLst>
                <a:path w="257" h="438">
                  <a:moveTo>
                    <a:pt x="139" y="31"/>
                  </a:moveTo>
                  <a:cubicBezTo>
                    <a:pt x="35" y="90"/>
                    <a:pt x="0" y="222"/>
                    <a:pt x="59" y="326"/>
                  </a:cubicBezTo>
                  <a:cubicBezTo>
                    <a:pt x="101" y="398"/>
                    <a:pt x="178" y="437"/>
                    <a:pt x="256" y="433"/>
                  </a:cubicBezTo>
                  <a:lnTo>
                    <a:pt x="256" y="2"/>
                  </a:lnTo>
                  <a:cubicBezTo>
                    <a:pt x="217" y="0"/>
                    <a:pt x="176" y="9"/>
                    <a:pt x="139" y="31"/>
                  </a:cubicBezTo>
                </a:path>
              </a:pathLst>
            </a:custGeom>
            <a:solidFill>
              <a:schemeClr val="accent4">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1" name="Freeform 129">
              <a:extLst>
                <a:ext uri="{FF2B5EF4-FFF2-40B4-BE49-F238E27FC236}">
                  <a16:creationId xmlns:a16="http://schemas.microsoft.com/office/drawing/2014/main" id="{43285D84-9693-254E-BD2A-842625A230DC}"/>
                </a:ext>
              </a:extLst>
            </p:cNvPr>
            <p:cNvSpPr>
              <a:spLocks noChangeArrowheads="1"/>
            </p:cNvSpPr>
            <p:nvPr/>
          </p:nvSpPr>
          <p:spPr bwMode="auto">
            <a:xfrm>
              <a:off x="1639888" y="5257800"/>
              <a:ext cx="174625" cy="131763"/>
            </a:xfrm>
            <a:custGeom>
              <a:avLst/>
              <a:gdLst>
                <a:gd name="T0" fmla="*/ 50 w 484"/>
                <a:gd name="T1" fmla="*/ 259 h 368"/>
                <a:gd name="T2" fmla="*/ 237 w 484"/>
                <a:gd name="T3" fmla="*/ 367 h 368"/>
                <a:gd name="T4" fmla="*/ 345 w 484"/>
                <a:gd name="T5" fmla="*/ 338 h 368"/>
                <a:gd name="T6" fmla="*/ 424 w 484"/>
                <a:gd name="T7" fmla="*/ 43 h 368"/>
                <a:gd name="T8" fmla="*/ 391 w 484"/>
                <a:gd name="T9" fmla="*/ 0 h 368"/>
                <a:gd name="T10" fmla="*/ 83 w 484"/>
                <a:gd name="T11" fmla="*/ 0 h 368"/>
                <a:gd name="T12" fmla="*/ 50 w 484"/>
                <a:gd name="T13" fmla="*/ 259 h 368"/>
                <a:gd name="T14" fmla="*/ 91 w 484"/>
                <a:gd name="T15" fmla="*/ 112 h 368"/>
                <a:gd name="T16" fmla="*/ 161 w 484"/>
                <a:gd name="T17" fmla="*/ 21 h 368"/>
                <a:gd name="T18" fmla="*/ 237 w 484"/>
                <a:gd name="T19" fmla="*/ 1 h 368"/>
                <a:gd name="T20" fmla="*/ 237 w 484"/>
                <a:gd name="T21" fmla="*/ 1 h 368"/>
                <a:gd name="T22" fmla="*/ 367 w 484"/>
                <a:gd name="T23" fmla="*/ 76 h 368"/>
                <a:gd name="T24" fmla="*/ 382 w 484"/>
                <a:gd name="T25" fmla="*/ 190 h 368"/>
                <a:gd name="T26" fmla="*/ 312 w 484"/>
                <a:gd name="T27" fmla="*/ 282 h 368"/>
                <a:gd name="T28" fmla="*/ 237 w 484"/>
                <a:gd name="T29" fmla="*/ 302 h 368"/>
                <a:gd name="T30" fmla="*/ 106 w 484"/>
                <a:gd name="T31" fmla="*/ 227 h 368"/>
                <a:gd name="T32" fmla="*/ 91 w 484"/>
                <a:gd name="T33"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368">
                  <a:moveTo>
                    <a:pt x="50" y="259"/>
                  </a:moveTo>
                  <a:cubicBezTo>
                    <a:pt x="90" y="329"/>
                    <a:pt x="162" y="367"/>
                    <a:pt x="237" y="367"/>
                  </a:cubicBezTo>
                  <a:cubicBezTo>
                    <a:pt x="274" y="367"/>
                    <a:pt x="311" y="358"/>
                    <a:pt x="345" y="338"/>
                  </a:cubicBezTo>
                  <a:cubicBezTo>
                    <a:pt x="448" y="279"/>
                    <a:pt x="483" y="147"/>
                    <a:pt x="424" y="43"/>
                  </a:cubicBezTo>
                  <a:cubicBezTo>
                    <a:pt x="414" y="27"/>
                    <a:pt x="403" y="13"/>
                    <a:pt x="391" y="0"/>
                  </a:cubicBezTo>
                  <a:lnTo>
                    <a:pt x="83" y="0"/>
                  </a:lnTo>
                  <a:cubicBezTo>
                    <a:pt x="16" y="67"/>
                    <a:pt x="0" y="173"/>
                    <a:pt x="50" y="259"/>
                  </a:cubicBezTo>
                  <a:close/>
                  <a:moveTo>
                    <a:pt x="91" y="112"/>
                  </a:moveTo>
                  <a:cubicBezTo>
                    <a:pt x="102" y="73"/>
                    <a:pt x="127" y="41"/>
                    <a:pt x="161" y="21"/>
                  </a:cubicBezTo>
                  <a:cubicBezTo>
                    <a:pt x="184" y="8"/>
                    <a:pt x="210" y="1"/>
                    <a:pt x="237" y="1"/>
                  </a:cubicBezTo>
                  <a:lnTo>
                    <a:pt x="237" y="1"/>
                  </a:lnTo>
                  <a:cubicBezTo>
                    <a:pt x="290" y="1"/>
                    <a:pt x="340" y="30"/>
                    <a:pt x="367" y="76"/>
                  </a:cubicBezTo>
                  <a:cubicBezTo>
                    <a:pt x="387" y="111"/>
                    <a:pt x="393" y="151"/>
                    <a:pt x="382" y="190"/>
                  </a:cubicBezTo>
                  <a:cubicBezTo>
                    <a:pt x="372" y="229"/>
                    <a:pt x="347" y="262"/>
                    <a:pt x="312" y="282"/>
                  </a:cubicBezTo>
                  <a:cubicBezTo>
                    <a:pt x="289" y="295"/>
                    <a:pt x="263" y="302"/>
                    <a:pt x="237" y="302"/>
                  </a:cubicBezTo>
                  <a:cubicBezTo>
                    <a:pt x="183" y="302"/>
                    <a:pt x="133" y="273"/>
                    <a:pt x="106" y="227"/>
                  </a:cubicBezTo>
                  <a:cubicBezTo>
                    <a:pt x="86" y="192"/>
                    <a:pt x="81" y="151"/>
                    <a:pt x="91" y="112"/>
                  </a:cubicBezTo>
                  <a:close/>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2" name="Freeform 130">
              <a:extLst>
                <a:ext uri="{FF2B5EF4-FFF2-40B4-BE49-F238E27FC236}">
                  <a16:creationId xmlns:a16="http://schemas.microsoft.com/office/drawing/2014/main" id="{CC7310AA-0383-B745-97FD-7B6957D2F30C}"/>
                </a:ext>
              </a:extLst>
            </p:cNvPr>
            <p:cNvSpPr>
              <a:spLocks noChangeArrowheads="1"/>
            </p:cNvSpPr>
            <p:nvPr/>
          </p:nvSpPr>
          <p:spPr bwMode="auto">
            <a:xfrm>
              <a:off x="1760538" y="5699125"/>
              <a:ext cx="323850" cy="138113"/>
            </a:xfrm>
            <a:custGeom>
              <a:avLst/>
              <a:gdLst>
                <a:gd name="T0" fmla="*/ 851 w 898"/>
                <a:gd name="T1" fmla="*/ 139 h 382"/>
                <a:gd name="T2" fmla="*/ 556 w 898"/>
                <a:gd name="T3" fmla="*/ 60 h 382"/>
                <a:gd name="T4" fmla="*/ 0 w 898"/>
                <a:gd name="T5" fmla="*/ 381 h 382"/>
                <a:gd name="T6" fmla="*/ 833 w 898"/>
                <a:gd name="T7" fmla="*/ 381 h 382"/>
                <a:gd name="T8" fmla="*/ 851 w 898"/>
                <a:gd name="T9" fmla="*/ 139 h 382"/>
              </a:gdLst>
              <a:ahLst/>
              <a:cxnLst>
                <a:cxn ang="0">
                  <a:pos x="T0" y="T1"/>
                </a:cxn>
                <a:cxn ang="0">
                  <a:pos x="T2" y="T3"/>
                </a:cxn>
                <a:cxn ang="0">
                  <a:pos x="T4" y="T5"/>
                </a:cxn>
                <a:cxn ang="0">
                  <a:pos x="T6" y="T7"/>
                </a:cxn>
                <a:cxn ang="0">
                  <a:pos x="T8" y="T9"/>
                </a:cxn>
              </a:cxnLst>
              <a:rect l="0" t="0" r="r" b="b"/>
              <a:pathLst>
                <a:path w="898" h="382">
                  <a:moveTo>
                    <a:pt x="851" y="139"/>
                  </a:moveTo>
                  <a:cubicBezTo>
                    <a:pt x="791" y="35"/>
                    <a:pt x="659" y="0"/>
                    <a:pt x="556" y="60"/>
                  </a:cubicBezTo>
                  <a:lnTo>
                    <a:pt x="0" y="381"/>
                  </a:lnTo>
                  <a:lnTo>
                    <a:pt x="833" y="381"/>
                  </a:lnTo>
                  <a:cubicBezTo>
                    <a:pt x="887" y="314"/>
                    <a:pt x="897" y="218"/>
                    <a:pt x="851" y="139"/>
                  </a:cubicBezTo>
                </a:path>
              </a:pathLst>
            </a:custGeom>
            <a:solidFill>
              <a:schemeClr val="accent4">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573640263"/>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all-out + image v3a">
    <p:spTree>
      <p:nvGrpSpPr>
        <p:cNvPr id="1" name=""/>
        <p:cNvGrpSpPr/>
        <p:nvPr/>
      </p:nvGrpSpPr>
      <p:grpSpPr>
        <a:xfrm>
          <a:off x="0" y="0"/>
          <a:ext cx="0" cy="0"/>
          <a:chOff x="0" y="0"/>
          <a:chExt cx="0" cy="0"/>
        </a:xfrm>
      </p:grpSpPr>
      <p:sp>
        <p:nvSpPr>
          <p:cNvPr id="2" name="Title 1"/>
          <p:cNvSpPr>
            <a:spLocks noGrp="1"/>
          </p:cNvSpPr>
          <p:nvPr>
            <p:ph type="ctrTitle"/>
          </p:nvPr>
        </p:nvSpPr>
        <p:spPr>
          <a:xfrm>
            <a:off x="468000" y="457200"/>
            <a:ext cx="5155200" cy="457200"/>
          </a:xfrm>
        </p:spPr>
        <p:txBody>
          <a:bodyPr vert="horz" lIns="0" tIns="0" rIns="0" bIns="0" rtlCol="0" anchor="t" anchorCtr="0">
            <a:noAutofit/>
          </a:bodyPr>
          <a:lstStyle>
            <a:lvl1pPr algn="l">
              <a:lnSpc>
                <a:spcPts val="2120"/>
              </a:lnSpc>
              <a:defRPr lang="en-GB" noProof="0" dirty="0"/>
            </a:lvl1pPr>
          </a:lstStyle>
          <a:p>
            <a:pPr lvl="0"/>
            <a:r>
              <a:rPr lang="en-US" noProof="0" dirty="0"/>
              <a:t>Click to edit Master title style</a:t>
            </a:r>
            <a:endParaRPr lang="en-GB" noProof="0" dirty="0"/>
          </a:p>
        </p:txBody>
      </p:sp>
      <p:sp>
        <p:nvSpPr>
          <p:cNvPr id="6" name="Footer Placeholder 5">
            <a:extLst>
              <a:ext uri="{FF2B5EF4-FFF2-40B4-BE49-F238E27FC236}">
                <a16:creationId xmlns:a16="http://schemas.microsoft.com/office/drawing/2014/main" id="{184F4E7D-A950-4778-8BC5-6A7D69AFC0FB}"/>
              </a:ext>
            </a:extLst>
          </p:cNvPr>
          <p:cNvSpPr>
            <a:spLocks noGrp="1"/>
          </p:cNvSpPr>
          <p:nvPr>
            <p:ph type="ftr" sz="quarter" idx="13"/>
          </p:nvPr>
        </p:nvSpPr>
        <p:spPr/>
        <p:txBody>
          <a:bodyPr/>
          <a:lstStyle/>
          <a:p>
            <a:pPr algn="l">
              <a:lnSpc>
                <a:spcPts val="970"/>
              </a:lnSpc>
            </a:pPr>
            <a:r>
              <a:rPr lang="en-GB" dirty="0"/>
              <a:t>© Colt Technology Services  |  Presentation title here</a:t>
            </a:r>
          </a:p>
        </p:txBody>
      </p:sp>
      <p:sp>
        <p:nvSpPr>
          <p:cNvPr id="10" name="Text Placeholder 9">
            <a:extLst>
              <a:ext uri="{FF2B5EF4-FFF2-40B4-BE49-F238E27FC236}">
                <a16:creationId xmlns:a16="http://schemas.microsoft.com/office/drawing/2014/main" id="{40C6BB52-481B-46AE-9210-2C30607BF2FD}"/>
              </a:ext>
            </a:extLst>
          </p:cNvPr>
          <p:cNvSpPr>
            <a:spLocks noGrp="1"/>
          </p:cNvSpPr>
          <p:nvPr>
            <p:ph type="body" sz="quarter" idx="15"/>
          </p:nvPr>
        </p:nvSpPr>
        <p:spPr>
          <a:xfrm>
            <a:off x="468313" y="1224000"/>
            <a:ext cx="4224337" cy="3348037"/>
          </a:xfrm>
        </p:spPr>
        <p:txBody>
          <a:bodyPr/>
          <a:lstStyle>
            <a:lvl1pPr>
              <a:lnSpc>
                <a:spcPts val="6800"/>
              </a:lnSpc>
              <a:spcAft>
                <a:spcPts val="0"/>
              </a:spcAft>
              <a:defRPr sz="5890"/>
            </a:lvl1pPr>
          </a:lstStyle>
          <a:p>
            <a:pPr lvl="0"/>
            <a:r>
              <a:rPr lang="en-US" dirty="0"/>
              <a:t>Click to edit Master text styles</a:t>
            </a:r>
            <a:endParaRPr lang="en-GB" dirty="0"/>
          </a:p>
        </p:txBody>
      </p:sp>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pic>
        <p:nvPicPr>
          <p:cNvPr id="17" name="Picture 16">
            <a:extLst>
              <a:ext uri="{FF2B5EF4-FFF2-40B4-BE49-F238E27FC236}">
                <a16:creationId xmlns:a16="http://schemas.microsoft.com/office/drawing/2014/main" id="{DCBC2862-476F-6F47-874F-1D1AB154AD30}"/>
              </a:ext>
            </a:extLst>
          </p:cNvPr>
          <p:cNvPicPr>
            <a:picLocks noChangeAspect="1"/>
          </p:cNvPicPr>
          <p:nvPr userDrawn="1"/>
        </p:nvPicPr>
        <p:blipFill>
          <a:blip r:embed="rId2"/>
          <a:stretch>
            <a:fillRect/>
          </a:stretch>
        </p:blipFill>
        <p:spPr>
          <a:xfrm>
            <a:off x="5572400" y="457200"/>
            <a:ext cx="5943600" cy="5943600"/>
          </a:xfrm>
          <a:prstGeom prst="rect">
            <a:avLst/>
          </a:prstGeom>
        </p:spPr>
      </p:pic>
      <p:grpSp>
        <p:nvGrpSpPr>
          <p:cNvPr id="18" name="Group 17">
            <a:extLst>
              <a:ext uri="{FF2B5EF4-FFF2-40B4-BE49-F238E27FC236}">
                <a16:creationId xmlns:a16="http://schemas.microsoft.com/office/drawing/2014/main" id="{83856290-6D50-634E-A478-4B7D053EFB32}"/>
              </a:ext>
            </a:extLst>
          </p:cNvPr>
          <p:cNvGrpSpPr/>
          <p:nvPr userDrawn="1"/>
        </p:nvGrpSpPr>
        <p:grpSpPr>
          <a:xfrm>
            <a:off x="4506089" y="0"/>
            <a:ext cx="7703498" cy="6857999"/>
            <a:chOff x="5900738" y="5257800"/>
            <a:chExt cx="650875" cy="579438"/>
          </a:xfrm>
        </p:grpSpPr>
        <p:sp>
          <p:nvSpPr>
            <p:cNvPr id="19" name="Freeform 106">
              <a:extLst>
                <a:ext uri="{FF2B5EF4-FFF2-40B4-BE49-F238E27FC236}">
                  <a16:creationId xmlns:a16="http://schemas.microsoft.com/office/drawing/2014/main" id="{11801516-02E5-7649-BDBC-8EDC3D409A0B}"/>
                </a:ext>
              </a:extLst>
            </p:cNvPr>
            <p:cNvSpPr>
              <a:spLocks noChangeArrowheads="1"/>
            </p:cNvSpPr>
            <p:nvPr/>
          </p:nvSpPr>
          <p:spPr bwMode="auto">
            <a:xfrm>
              <a:off x="5900738" y="5257800"/>
              <a:ext cx="174625" cy="131763"/>
            </a:xfrm>
            <a:custGeom>
              <a:avLst/>
              <a:gdLst>
                <a:gd name="T0" fmla="*/ 50 w 485"/>
                <a:gd name="T1" fmla="*/ 259 h 368"/>
                <a:gd name="T2" fmla="*/ 237 w 485"/>
                <a:gd name="T3" fmla="*/ 367 h 368"/>
                <a:gd name="T4" fmla="*/ 345 w 485"/>
                <a:gd name="T5" fmla="*/ 338 h 368"/>
                <a:gd name="T6" fmla="*/ 424 w 485"/>
                <a:gd name="T7" fmla="*/ 43 h 368"/>
                <a:gd name="T8" fmla="*/ 391 w 485"/>
                <a:gd name="T9" fmla="*/ 0 h 368"/>
                <a:gd name="T10" fmla="*/ 83 w 485"/>
                <a:gd name="T11" fmla="*/ 0 h 368"/>
                <a:gd name="T12" fmla="*/ 50 w 485"/>
                <a:gd name="T13" fmla="*/ 259 h 368"/>
                <a:gd name="T14" fmla="*/ 92 w 485"/>
                <a:gd name="T15" fmla="*/ 112 h 368"/>
                <a:gd name="T16" fmla="*/ 162 w 485"/>
                <a:gd name="T17" fmla="*/ 21 h 368"/>
                <a:gd name="T18" fmla="*/ 237 w 485"/>
                <a:gd name="T19" fmla="*/ 1 h 368"/>
                <a:gd name="T20" fmla="*/ 237 w 485"/>
                <a:gd name="T21" fmla="*/ 1 h 368"/>
                <a:gd name="T22" fmla="*/ 368 w 485"/>
                <a:gd name="T23" fmla="*/ 76 h 368"/>
                <a:gd name="T24" fmla="*/ 312 w 485"/>
                <a:gd name="T25" fmla="*/ 282 h 368"/>
                <a:gd name="T26" fmla="*/ 237 w 485"/>
                <a:gd name="T27" fmla="*/ 302 h 368"/>
                <a:gd name="T28" fmla="*/ 107 w 485"/>
                <a:gd name="T29" fmla="*/ 227 h 368"/>
                <a:gd name="T30" fmla="*/ 92 w 485"/>
                <a:gd name="T31"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5" h="368">
                  <a:moveTo>
                    <a:pt x="50" y="259"/>
                  </a:moveTo>
                  <a:cubicBezTo>
                    <a:pt x="90" y="329"/>
                    <a:pt x="163" y="367"/>
                    <a:pt x="237" y="367"/>
                  </a:cubicBezTo>
                  <a:cubicBezTo>
                    <a:pt x="274" y="367"/>
                    <a:pt x="311" y="358"/>
                    <a:pt x="345" y="338"/>
                  </a:cubicBezTo>
                  <a:cubicBezTo>
                    <a:pt x="448" y="279"/>
                    <a:pt x="484" y="147"/>
                    <a:pt x="424" y="43"/>
                  </a:cubicBezTo>
                  <a:cubicBezTo>
                    <a:pt x="415" y="27"/>
                    <a:pt x="404" y="13"/>
                    <a:pt x="391" y="0"/>
                  </a:cubicBezTo>
                  <a:lnTo>
                    <a:pt x="83" y="0"/>
                  </a:lnTo>
                  <a:cubicBezTo>
                    <a:pt x="17" y="67"/>
                    <a:pt x="0" y="173"/>
                    <a:pt x="50" y="259"/>
                  </a:cubicBezTo>
                  <a:close/>
                  <a:moveTo>
                    <a:pt x="92" y="112"/>
                  </a:moveTo>
                  <a:cubicBezTo>
                    <a:pt x="102" y="74"/>
                    <a:pt x="127" y="41"/>
                    <a:pt x="162" y="21"/>
                  </a:cubicBezTo>
                  <a:cubicBezTo>
                    <a:pt x="185" y="8"/>
                    <a:pt x="211" y="1"/>
                    <a:pt x="237" y="1"/>
                  </a:cubicBezTo>
                  <a:lnTo>
                    <a:pt x="237" y="1"/>
                  </a:lnTo>
                  <a:cubicBezTo>
                    <a:pt x="291" y="1"/>
                    <a:pt x="341" y="30"/>
                    <a:pt x="368" y="76"/>
                  </a:cubicBezTo>
                  <a:cubicBezTo>
                    <a:pt x="409" y="148"/>
                    <a:pt x="384" y="240"/>
                    <a:pt x="312" y="282"/>
                  </a:cubicBezTo>
                  <a:cubicBezTo>
                    <a:pt x="290" y="295"/>
                    <a:pt x="264" y="302"/>
                    <a:pt x="237" y="302"/>
                  </a:cubicBezTo>
                  <a:cubicBezTo>
                    <a:pt x="184" y="302"/>
                    <a:pt x="134" y="273"/>
                    <a:pt x="107" y="227"/>
                  </a:cubicBezTo>
                  <a:cubicBezTo>
                    <a:pt x="87" y="192"/>
                    <a:pt x="81" y="151"/>
                    <a:pt x="92" y="112"/>
                  </a:cubicBezTo>
                  <a:close/>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0" name="Freeform 107">
              <a:extLst>
                <a:ext uri="{FF2B5EF4-FFF2-40B4-BE49-F238E27FC236}">
                  <a16:creationId xmlns:a16="http://schemas.microsoft.com/office/drawing/2014/main" id="{94A4E8CE-C4A3-9F46-920B-3B2EF078CB53}"/>
                </a:ext>
              </a:extLst>
            </p:cNvPr>
            <p:cNvSpPr>
              <a:spLocks noChangeArrowheads="1"/>
            </p:cNvSpPr>
            <p:nvPr/>
          </p:nvSpPr>
          <p:spPr bwMode="auto">
            <a:xfrm>
              <a:off x="6022975" y="5699125"/>
              <a:ext cx="323850" cy="138113"/>
            </a:xfrm>
            <a:custGeom>
              <a:avLst/>
              <a:gdLst>
                <a:gd name="T0" fmla="*/ 852 w 898"/>
                <a:gd name="T1" fmla="*/ 139 h 382"/>
                <a:gd name="T2" fmla="*/ 557 w 898"/>
                <a:gd name="T3" fmla="*/ 60 h 382"/>
                <a:gd name="T4" fmla="*/ 0 w 898"/>
                <a:gd name="T5" fmla="*/ 381 h 382"/>
                <a:gd name="T6" fmla="*/ 834 w 898"/>
                <a:gd name="T7" fmla="*/ 381 h 382"/>
                <a:gd name="T8" fmla="*/ 852 w 898"/>
                <a:gd name="T9" fmla="*/ 139 h 382"/>
              </a:gdLst>
              <a:ahLst/>
              <a:cxnLst>
                <a:cxn ang="0">
                  <a:pos x="T0" y="T1"/>
                </a:cxn>
                <a:cxn ang="0">
                  <a:pos x="T2" y="T3"/>
                </a:cxn>
                <a:cxn ang="0">
                  <a:pos x="T4" y="T5"/>
                </a:cxn>
                <a:cxn ang="0">
                  <a:pos x="T6" y="T7"/>
                </a:cxn>
                <a:cxn ang="0">
                  <a:pos x="T8" y="T9"/>
                </a:cxn>
              </a:cxnLst>
              <a:rect l="0" t="0" r="r" b="b"/>
              <a:pathLst>
                <a:path w="898" h="382">
                  <a:moveTo>
                    <a:pt x="852" y="139"/>
                  </a:moveTo>
                  <a:cubicBezTo>
                    <a:pt x="792" y="35"/>
                    <a:pt x="660" y="0"/>
                    <a:pt x="557" y="60"/>
                  </a:cubicBezTo>
                  <a:lnTo>
                    <a:pt x="0" y="381"/>
                  </a:lnTo>
                  <a:lnTo>
                    <a:pt x="834" y="381"/>
                  </a:lnTo>
                  <a:cubicBezTo>
                    <a:pt x="887" y="314"/>
                    <a:pt x="897" y="218"/>
                    <a:pt x="852" y="139"/>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1" name="Freeform 108">
              <a:extLst>
                <a:ext uri="{FF2B5EF4-FFF2-40B4-BE49-F238E27FC236}">
                  <a16:creationId xmlns:a16="http://schemas.microsoft.com/office/drawing/2014/main" id="{0D344E9E-4318-5A4C-B3EC-AF0BF6519758}"/>
                </a:ext>
              </a:extLst>
            </p:cNvPr>
            <p:cNvSpPr>
              <a:spLocks noChangeArrowheads="1"/>
            </p:cNvSpPr>
            <p:nvPr/>
          </p:nvSpPr>
          <p:spPr bwMode="auto">
            <a:xfrm>
              <a:off x="6457950" y="5545138"/>
              <a:ext cx="93663" cy="157162"/>
            </a:xfrm>
            <a:custGeom>
              <a:avLst/>
              <a:gdLst>
                <a:gd name="T0" fmla="*/ 139 w 258"/>
                <a:gd name="T1" fmla="*/ 31 h 438"/>
                <a:gd name="T2" fmla="*/ 60 w 258"/>
                <a:gd name="T3" fmla="*/ 326 h 438"/>
                <a:gd name="T4" fmla="*/ 257 w 258"/>
                <a:gd name="T5" fmla="*/ 433 h 438"/>
                <a:gd name="T6" fmla="*/ 257 w 258"/>
                <a:gd name="T7" fmla="*/ 2 h 438"/>
                <a:gd name="T8" fmla="*/ 139 w 258"/>
                <a:gd name="T9" fmla="*/ 31 h 438"/>
              </a:gdLst>
              <a:ahLst/>
              <a:cxnLst>
                <a:cxn ang="0">
                  <a:pos x="T0" y="T1"/>
                </a:cxn>
                <a:cxn ang="0">
                  <a:pos x="T2" y="T3"/>
                </a:cxn>
                <a:cxn ang="0">
                  <a:pos x="T4" y="T5"/>
                </a:cxn>
                <a:cxn ang="0">
                  <a:pos x="T6" y="T7"/>
                </a:cxn>
                <a:cxn ang="0">
                  <a:pos x="T8" y="T9"/>
                </a:cxn>
              </a:cxnLst>
              <a:rect l="0" t="0" r="r" b="b"/>
              <a:pathLst>
                <a:path w="258" h="438">
                  <a:moveTo>
                    <a:pt x="139" y="31"/>
                  </a:moveTo>
                  <a:cubicBezTo>
                    <a:pt x="36" y="90"/>
                    <a:pt x="0" y="222"/>
                    <a:pt x="60" y="326"/>
                  </a:cubicBezTo>
                  <a:cubicBezTo>
                    <a:pt x="102" y="398"/>
                    <a:pt x="179" y="437"/>
                    <a:pt x="257" y="433"/>
                  </a:cubicBezTo>
                  <a:lnTo>
                    <a:pt x="257" y="2"/>
                  </a:lnTo>
                  <a:cubicBezTo>
                    <a:pt x="217" y="0"/>
                    <a:pt x="176" y="9"/>
                    <a:pt x="139" y="31"/>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431594760"/>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Call-out + image v1b">
    <p:spTree>
      <p:nvGrpSpPr>
        <p:cNvPr id="1" name=""/>
        <p:cNvGrpSpPr/>
        <p:nvPr/>
      </p:nvGrpSpPr>
      <p:grpSpPr>
        <a:xfrm>
          <a:off x="0" y="0"/>
          <a:ext cx="0" cy="0"/>
          <a:chOff x="0" y="0"/>
          <a:chExt cx="0" cy="0"/>
        </a:xfrm>
      </p:grpSpPr>
      <p:sp>
        <p:nvSpPr>
          <p:cNvPr id="2" name="Title 1"/>
          <p:cNvSpPr>
            <a:spLocks noGrp="1"/>
          </p:cNvSpPr>
          <p:nvPr>
            <p:ph type="ctrTitle"/>
          </p:nvPr>
        </p:nvSpPr>
        <p:spPr>
          <a:xfrm>
            <a:off x="468000" y="457200"/>
            <a:ext cx="5155200" cy="457200"/>
          </a:xfrm>
        </p:spPr>
        <p:txBody>
          <a:bodyPr vert="horz" lIns="0" tIns="0" rIns="0" bIns="0" rtlCol="0" anchor="t" anchorCtr="0">
            <a:noAutofit/>
          </a:bodyPr>
          <a:lstStyle>
            <a:lvl1pPr algn="l">
              <a:lnSpc>
                <a:spcPts val="2120"/>
              </a:lnSpc>
              <a:defRPr lang="en-GB" noProof="0" dirty="0"/>
            </a:lvl1pPr>
          </a:lstStyle>
          <a:p>
            <a:pPr lvl="0"/>
            <a:r>
              <a:rPr lang="en-US" noProof="0" dirty="0"/>
              <a:t>Click to edit Master title style</a:t>
            </a:r>
            <a:endParaRPr lang="en-GB" noProof="0" dirty="0"/>
          </a:p>
        </p:txBody>
      </p:sp>
      <p:sp>
        <p:nvSpPr>
          <p:cNvPr id="6" name="Footer Placeholder 5">
            <a:extLst>
              <a:ext uri="{FF2B5EF4-FFF2-40B4-BE49-F238E27FC236}">
                <a16:creationId xmlns:a16="http://schemas.microsoft.com/office/drawing/2014/main" id="{184F4E7D-A950-4778-8BC5-6A7D69AFC0FB}"/>
              </a:ext>
            </a:extLst>
          </p:cNvPr>
          <p:cNvSpPr>
            <a:spLocks noGrp="1"/>
          </p:cNvSpPr>
          <p:nvPr>
            <p:ph type="ftr" sz="quarter" idx="13"/>
          </p:nvPr>
        </p:nvSpPr>
        <p:spPr/>
        <p:txBody>
          <a:bodyPr/>
          <a:lstStyle/>
          <a:p>
            <a:pPr algn="l">
              <a:lnSpc>
                <a:spcPts val="970"/>
              </a:lnSpc>
            </a:pPr>
            <a:r>
              <a:rPr lang="en-GB" dirty="0"/>
              <a:t>© Colt Technology Services  |  Presentation title here</a:t>
            </a:r>
          </a:p>
        </p:txBody>
      </p:sp>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p:txBody>
          <a:body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sp>
        <p:nvSpPr>
          <p:cNvPr id="10" name="Text Placeholder 9">
            <a:extLst>
              <a:ext uri="{FF2B5EF4-FFF2-40B4-BE49-F238E27FC236}">
                <a16:creationId xmlns:a16="http://schemas.microsoft.com/office/drawing/2014/main" id="{40C6BB52-481B-46AE-9210-2C30607BF2FD}"/>
              </a:ext>
            </a:extLst>
          </p:cNvPr>
          <p:cNvSpPr>
            <a:spLocks noGrp="1"/>
          </p:cNvSpPr>
          <p:nvPr>
            <p:ph type="body" sz="quarter" idx="15"/>
          </p:nvPr>
        </p:nvSpPr>
        <p:spPr>
          <a:xfrm>
            <a:off x="468313" y="1332000"/>
            <a:ext cx="4224337" cy="3348037"/>
          </a:xfrm>
        </p:spPr>
        <p:txBody>
          <a:bodyPr/>
          <a:lstStyle>
            <a:lvl1pPr>
              <a:lnSpc>
                <a:spcPts val="3170"/>
              </a:lnSpc>
              <a:spcAft>
                <a:spcPts val="0"/>
              </a:spcAft>
              <a:defRPr sz="2530"/>
            </a:lvl1pPr>
          </a:lstStyle>
          <a:p>
            <a:pPr lvl="0"/>
            <a:r>
              <a:rPr lang="en-US" dirty="0"/>
              <a:t>Click to edit Master text styles</a:t>
            </a:r>
            <a:endParaRPr lang="en-GB" dirty="0"/>
          </a:p>
        </p:txBody>
      </p:sp>
      <p:pic>
        <p:nvPicPr>
          <p:cNvPr id="14" name="Picture 13">
            <a:extLst>
              <a:ext uri="{FF2B5EF4-FFF2-40B4-BE49-F238E27FC236}">
                <a16:creationId xmlns:a16="http://schemas.microsoft.com/office/drawing/2014/main" id="{CC3CA46A-F392-314E-9E0E-8AEB6ED7ACB4}"/>
              </a:ext>
            </a:extLst>
          </p:cNvPr>
          <p:cNvPicPr>
            <a:picLocks noChangeAspect="1"/>
          </p:cNvPicPr>
          <p:nvPr userDrawn="1"/>
        </p:nvPicPr>
        <p:blipFill>
          <a:blip r:embed="rId2"/>
          <a:stretch>
            <a:fillRect/>
          </a:stretch>
        </p:blipFill>
        <p:spPr>
          <a:xfrm>
            <a:off x="4699000" y="0"/>
            <a:ext cx="7493000" cy="6413500"/>
          </a:xfrm>
          <a:prstGeom prst="rect">
            <a:avLst/>
          </a:prstGeom>
        </p:spPr>
      </p:pic>
      <p:grpSp>
        <p:nvGrpSpPr>
          <p:cNvPr id="15" name="Group 14">
            <a:extLst>
              <a:ext uri="{FF2B5EF4-FFF2-40B4-BE49-F238E27FC236}">
                <a16:creationId xmlns:a16="http://schemas.microsoft.com/office/drawing/2014/main" id="{239511DA-223C-5D42-B785-4F29C103864A}"/>
              </a:ext>
            </a:extLst>
          </p:cNvPr>
          <p:cNvGrpSpPr/>
          <p:nvPr userDrawn="1"/>
        </p:nvGrpSpPr>
        <p:grpSpPr>
          <a:xfrm>
            <a:off x="4492331" y="5196"/>
            <a:ext cx="7699669" cy="6871354"/>
            <a:chOff x="1639888" y="5257800"/>
            <a:chExt cx="649287" cy="579438"/>
          </a:xfrm>
        </p:grpSpPr>
        <p:sp>
          <p:nvSpPr>
            <p:cNvPr id="16" name="Freeform 128">
              <a:extLst>
                <a:ext uri="{FF2B5EF4-FFF2-40B4-BE49-F238E27FC236}">
                  <a16:creationId xmlns:a16="http://schemas.microsoft.com/office/drawing/2014/main" id="{F0250C12-BC87-564E-89B9-C59410B30D71}"/>
                </a:ext>
              </a:extLst>
            </p:cNvPr>
            <p:cNvSpPr>
              <a:spLocks noChangeArrowheads="1"/>
            </p:cNvSpPr>
            <p:nvPr/>
          </p:nvSpPr>
          <p:spPr bwMode="auto">
            <a:xfrm>
              <a:off x="2197100" y="5545138"/>
              <a:ext cx="92075" cy="157162"/>
            </a:xfrm>
            <a:custGeom>
              <a:avLst/>
              <a:gdLst>
                <a:gd name="T0" fmla="*/ 139 w 257"/>
                <a:gd name="T1" fmla="*/ 31 h 438"/>
                <a:gd name="T2" fmla="*/ 59 w 257"/>
                <a:gd name="T3" fmla="*/ 326 h 438"/>
                <a:gd name="T4" fmla="*/ 256 w 257"/>
                <a:gd name="T5" fmla="*/ 433 h 438"/>
                <a:gd name="T6" fmla="*/ 256 w 257"/>
                <a:gd name="T7" fmla="*/ 2 h 438"/>
                <a:gd name="T8" fmla="*/ 139 w 257"/>
                <a:gd name="T9" fmla="*/ 31 h 438"/>
              </a:gdLst>
              <a:ahLst/>
              <a:cxnLst>
                <a:cxn ang="0">
                  <a:pos x="T0" y="T1"/>
                </a:cxn>
                <a:cxn ang="0">
                  <a:pos x="T2" y="T3"/>
                </a:cxn>
                <a:cxn ang="0">
                  <a:pos x="T4" y="T5"/>
                </a:cxn>
                <a:cxn ang="0">
                  <a:pos x="T6" y="T7"/>
                </a:cxn>
                <a:cxn ang="0">
                  <a:pos x="T8" y="T9"/>
                </a:cxn>
              </a:cxnLst>
              <a:rect l="0" t="0" r="r" b="b"/>
              <a:pathLst>
                <a:path w="257" h="438">
                  <a:moveTo>
                    <a:pt x="139" y="31"/>
                  </a:moveTo>
                  <a:cubicBezTo>
                    <a:pt x="35" y="90"/>
                    <a:pt x="0" y="222"/>
                    <a:pt x="59" y="326"/>
                  </a:cubicBezTo>
                  <a:cubicBezTo>
                    <a:pt x="101" y="398"/>
                    <a:pt x="178" y="437"/>
                    <a:pt x="256" y="433"/>
                  </a:cubicBezTo>
                  <a:lnTo>
                    <a:pt x="256" y="2"/>
                  </a:lnTo>
                  <a:cubicBezTo>
                    <a:pt x="217" y="0"/>
                    <a:pt x="176" y="9"/>
                    <a:pt x="139" y="31"/>
                  </a:cubicBezTo>
                </a:path>
              </a:pathLst>
            </a:custGeom>
            <a:solidFill>
              <a:schemeClr val="accent4">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7" name="Freeform 129">
              <a:extLst>
                <a:ext uri="{FF2B5EF4-FFF2-40B4-BE49-F238E27FC236}">
                  <a16:creationId xmlns:a16="http://schemas.microsoft.com/office/drawing/2014/main" id="{B3EECACC-2C41-CC4C-9EE9-A7E076DF147E}"/>
                </a:ext>
              </a:extLst>
            </p:cNvPr>
            <p:cNvSpPr>
              <a:spLocks noChangeArrowheads="1"/>
            </p:cNvSpPr>
            <p:nvPr/>
          </p:nvSpPr>
          <p:spPr bwMode="auto">
            <a:xfrm>
              <a:off x="1639888" y="5257800"/>
              <a:ext cx="174625" cy="131763"/>
            </a:xfrm>
            <a:custGeom>
              <a:avLst/>
              <a:gdLst>
                <a:gd name="T0" fmla="*/ 50 w 484"/>
                <a:gd name="T1" fmla="*/ 259 h 368"/>
                <a:gd name="T2" fmla="*/ 237 w 484"/>
                <a:gd name="T3" fmla="*/ 367 h 368"/>
                <a:gd name="T4" fmla="*/ 345 w 484"/>
                <a:gd name="T5" fmla="*/ 338 h 368"/>
                <a:gd name="T6" fmla="*/ 424 w 484"/>
                <a:gd name="T7" fmla="*/ 43 h 368"/>
                <a:gd name="T8" fmla="*/ 391 w 484"/>
                <a:gd name="T9" fmla="*/ 0 h 368"/>
                <a:gd name="T10" fmla="*/ 83 w 484"/>
                <a:gd name="T11" fmla="*/ 0 h 368"/>
                <a:gd name="T12" fmla="*/ 50 w 484"/>
                <a:gd name="T13" fmla="*/ 259 h 368"/>
                <a:gd name="T14" fmla="*/ 91 w 484"/>
                <a:gd name="T15" fmla="*/ 112 h 368"/>
                <a:gd name="T16" fmla="*/ 161 w 484"/>
                <a:gd name="T17" fmla="*/ 21 h 368"/>
                <a:gd name="T18" fmla="*/ 237 w 484"/>
                <a:gd name="T19" fmla="*/ 1 h 368"/>
                <a:gd name="T20" fmla="*/ 237 w 484"/>
                <a:gd name="T21" fmla="*/ 1 h 368"/>
                <a:gd name="T22" fmla="*/ 367 w 484"/>
                <a:gd name="T23" fmla="*/ 76 h 368"/>
                <a:gd name="T24" fmla="*/ 382 w 484"/>
                <a:gd name="T25" fmla="*/ 190 h 368"/>
                <a:gd name="T26" fmla="*/ 312 w 484"/>
                <a:gd name="T27" fmla="*/ 282 h 368"/>
                <a:gd name="T28" fmla="*/ 237 w 484"/>
                <a:gd name="T29" fmla="*/ 302 h 368"/>
                <a:gd name="T30" fmla="*/ 106 w 484"/>
                <a:gd name="T31" fmla="*/ 227 h 368"/>
                <a:gd name="T32" fmla="*/ 91 w 484"/>
                <a:gd name="T33"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84" h="368">
                  <a:moveTo>
                    <a:pt x="50" y="259"/>
                  </a:moveTo>
                  <a:cubicBezTo>
                    <a:pt x="90" y="329"/>
                    <a:pt x="162" y="367"/>
                    <a:pt x="237" y="367"/>
                  </a:cubicBezTo>
                  <a:cubicBezTo>
                    <a:pt x="274" y="367"/>
                    <a:pt x="311" y="358"/>
                    <a:pt x="345" y="338"/>
                  </a:cubicBezTo>
                  <a:cubicBezTo>
                    <a:pt x="448" y="279"/>
                    <a:pt x="483" y="147"/>
                    <a:pt x="424" y="43"/>
                  </a:cubicBezTo>
                  <a:cubicBezTo>
                    <a:pt x="414" y="27"/>
                    <a:pt x="403" y="13"/>
                    <a:pt x="391" y="0"/>
                  </a:cubicBezTo>
                  <a:lnTo>
                    <a:pt x="83" y="0"/>
                  </a:lnTo>
                  <a:cubicBezTo>
                    <a:pt x="16" y="67"/>
                    <a:pt x="0" y="173"/>
                    <a:pt x="50" y="259"/>
                  </a:cubicBezTo>
                  <a:close/>
                  <a:moveTo>
                    <a:pt x="91" y="112"/>
                  </a:moveTo>
                  <a:cubicBezTo>
                    <a:pt x="102" y="73"/>
                    <a:pt x="127" y="41"/>
                    <a:pt x="161" y="21"/>
                  </a:cubicBezTo>
                  <a:cubicBezTo>
                    <a:pt x="184" y="8"/>
                    <a:pt x="210" y="1"/>
                    <a:pt x="237" y="1"/>
                  </a:cubicBezTo>
                  <a:lnTo>
                    <a:pt x="237" y="1"/>
                  </a:lnTo>
                  <a:cubicBezTo>
                    <a:pt x="290" y="1"/>
                    <a:pt x="340" y="30"/>
                    <a:pt x="367" y="76"/>
                  </a:cubicBezTo>
                  <a:cubicBezTo>
                    <a:pt x="387" y="111"/>
                    <a:pt x="393" y="151"/>
                    <a:pt x="382" y="190"/>
                  </a:cubicBezTo>
                  <a:cubicBezTo>
                    <a:pt x="372" y="229"/>
                    <a:pt x="347" y="262"/>
                    <a:pt x="312" y="282"/>
                  </a:cubicBezTo>
                  <a:cubicBezTo>
                    <a:pt x="289" y="295"/>
                    <a:pt x="263" y="302"/>
                    <a:pt x="237" y="302"/>
                  </a:cubicBezTo>
                  <a:cubicBezTo>
                    <a:pt x="183" y="302"/>
                    <a:pt x="133" y="273"/>
                    <a:pt x="106" y="227"/>
                  </a:cubicBezTo>
                  <a:cubicBezTo>
                    <a:pt x="86" y="192"/>
                    <a:pt x="81" y="151"/>
                    <a:pt x="91" y="112"/>
                  </a:cubicBezTo>
                  <a:close/>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8" name="Freeform 130">
              <a:extLst>
                <a:ext uri="{FF2B5EF4-FFF2-40B4-BE49-F238E27FC236}">
                  <a16:creationId xmlns:a16="http://schemas.microsoft.com/office/drawing/2014/main" id="{077F2E4D-B21D-5542-BA0B-C38AAF44AAD7}"/>
                </a:ext>
              </a:extLst>
            </p:cNvPr>
            <p:cNvSpPr>
              <a:spLocks noChangeArrowheads="1"/>
            </p:cNvSpPr>
            <p:nvPr/>
          </p:nvSpPr>
          <p:spPr bwMode="auto">
            <a:xfrm>
              <a:off x="1760538" y="5699125"/>
              <a:ext cx="323850" cy="138113"/>
            </a:xfrm>
            <a:custGeom>
              <a:avLst/>
              <a:gdLst>
                <a:gd name="T0" fmla="*/ 851 w 898"/>
                <a:gd name="T1" fmla="*/ 139 h 382"/>
                <a:gd name="T2" fmla="*/ 556 w 898"/>
                <a:gd name="T3" fmla="*/ 60 h 382"/>
                <a:gd name="T4" fmla="*/ 0 w 898"/>
                <a:gd name="T5" fmla="*/ 381 h 382"/>
                <a:gd name="T6" fmla="*/ 833 w 898"/>
                <a:gd name="T7" fmla="*/ 381 h 382"/>
                <a:gd name="T8" fmla="*/ 851 w 898"/>
                <a:gd name="T9" fmla="*/ 139 h 382"/>
              </a:gdLst>
              <a:ahLst/>
              <a:cxnLst>
                <a:cxn ang="0">
                  <a:pos x="T0" y="T1"/>
                </a:cxn>
                <a:cxn ang="0">
                  <a:pos x="T2" y="T3"/>
                </a:cxn>
                <a:cxn ang="0">
                  <a:pos x="T4" y="T5"/>
                </a:cxn>
                <a:cxn ang="0">
                  <a:pos x="T6" y="T7"/>
                </a:cxn>
                <a:cxn ang="0">
                  <a:pos x="T8" y="T9"/>
                </a:cxn>
              </a:cxnLst>
              <a:rect l="0" t="0" r="r" b="b"/>
              <a:pathLst>
                <a:path w="898" h="382">
                  <a:moveTo>
                    <a:pt x="851" y="139"/>
                  </a:moveTo>
                  <a:cubicBezTo>
                    <a:pt x="791" y="35"/>
                    <a:pt x="659" y="0"/>
                    <a:pt x="556" y="60"/>
                  </a:cubicBezTo>
                  <a:lnTo>
                    <a:pt x="0" y="381"/>
                  </a:lnTo>
                  <a:lnTo>
                    <a:pt x="833" y="381"/>
                  </a:lnTo>
                  <a:cubicBezTo>
                    <a:pt x="887" y="314"/>
                    <a:pt x="897" y="218"/>
                    <a:pt x="851" y="139"/>
                  </a:cubicBezTo>
                </a:path>
              </a:pathLst>
            </a:custGeom>
            <a:solidFill>
              <a:schemeClr val="accent4">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560569845"/>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Call-out + image v2a">
    <p:spTree>
      <p:nvGrpSpPr>
        <p:cNvPr id="1" name=""/>
        <p:cNvGrpSpPr/>
        <p:nvPr/>
      </p:nvGrpSpPr>
      <p:grpSpPr>
        <a:xfrm>
          <a:off x="0" y="0"/>
          <a:ext cx="0" cy="0"/>
          <a:chOff x="0" y="0"/>
          <a:chExt cx="0" cy="0"/>
        </a:xfrm>
      </p:grpSpPr>
      <p:sp>
        <p:nvSpPr>
          <p:cNvPr id="2" name="Title 1"/>
          <p:cNvSpPr>
            <a:spLocks noGrp="1"/>
          </p:cNvSpPr>
          <p:nvPr>
            <p:ph type="ctrTitle"/>
          </p:nvPr>
        </p:nvSpPr>
        <p:spPr>
          <a:xfrm>
            <a:off x="468000" y="457200"/>
            <a:ext cx="5155200" cy="457200"/>
          </a:xfrm>
        </p:spPr>
        <p:txBody>
          <a:bodyPr vert="horz" lIns="0" tIns="0" rIns="0" bIns="0" rtlCol="0" anchor="t" anchorCtr="0">
            <a:noAutofit/>
          </a:bodyPr>
          <a:lstStyle>
            <a:lvl1pPr algn="l">
              <a:lnSpc>
                <a:spcPts val="2120"/>
              </a:lnSpc>
              <a:defRPr lang="en-GB" noProof="0" dirty="0"/>
            </a:lvl1pPr>
          </a:lstStyle>
          <a:p>
            <a:pPr lvl="0"/>
            <a:r>
              <a:rPr lang="en-US" noProof="0" dirty="0"/>
              <a:t>Click to edit Master title style</a:t>
            </a:r>
            <a:endParaRPr lang="en-GB" noProof="0" dirty="0"/>
          </a:p>
        </p:txBody>
      </p:sp>
      <p:sp>
        <p:nvSpPr>
          <p:cNvPr id="6" name="Footer Placeholder 5">
            <a:extLst>
              <a:ext uri="{FF2B5EF4-FFF2-40B4-BE49-F238E27FC236}">
                <a16:creationId xmlns:a16="http://schemas.microsoft.com/office/drawing/2014/main" id="{184F4E7D-A950-4778-8BC5-6A7D69AFC0FB}"/>
              </a:ext>
            </a:extLst>
          </p:cNvPr>
          <p:cNvSpPr>
            <a:spLocks noGrp="1"/>
          </p:cNvSpPr>
          <p:nvPr>
            <p:ph type="ftr" sz="quarter" idx="13"/>
          </p:nvPr>
        </p:nvSpPr>
        <p:spPr/>
        <p:txBody>
          <a:bodyPr/>
          <a:lstStyle/>
          <a:p>
            <a:pPr algn="l">
              <a:lnSpc>
                <a:spcPts val="970"/>
              </a:lnSpc>
            </a:pPr>
            <a:r>
              <a:rPr lang="en-GB" dirty="0"/>
              <a:t>© Colt Technology Services  |  Presentation title here</a:t>
            </a:r>
          </a:p>
        </p:txBody>
      </p:sp>
      <p:sp>
        <p:nvSpPr>
          <p:cNvPr id="10" name="Text Placeholder 9">
            <a:extLst>
              <a:ext uri="{FF2B5EF4-FFF2-40B4-BE49-F238E27FC236}">
                <a16:creationId xmlns:a16="http://schemas.microsoft.com/office/drawing/2014/main" id="{40C6BB52-481B-46AE-9210-2C30607BF2FD}"/>
              </a:ext>
            </a:extLst>
          </p:cNvPr>
          <p:cNvSpPr>
            <a:spLocks noGrp="1"/>
          </p:cNvSpPr>
          <p:nvPr>
            <p:ph type="body" sz="quarter" idx="15"/>
          </p:nvPr>
        </p:nvSpPr>
        <p:spPr>
          <a:xfrm>
            <a:off x="468313" y="1224000"/>
            <a:ext cx="4224337" cy="3348037"/>
          </a:xfrm>
        </p:spPr>
        <p:txBody>
          <a:bodyPr/>
          <a:lstStyle>
            <a:lvl1pPr>
              <a:lnSpc>
                <a:spcPts val="6800"/>
              </a:lnSpc>
              <a:spcAft>
                <a:spcPts val="0"/>
              </a:spcAft>
              <a:defRPr sz="5890"/>
            </a:lvl1pPr>
          </a:lstStyle>
          <a:p>
            <a:pPr lvl="0"/>
            <a:r>
              <a:rPr lang="en-US" dirty="0"/>
              <a:t>Click to edit Master text styles</a:t>
            </a:r>
            <a:endParaRPr lang="en-GB" dirty="0"/>
          </a:p>
        </p:txBody>
      </p:sp>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p:txBody>
          <a:body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pic>
        <p:nvPicPr>
          <p:cNvPr id="13" name="Picture 12">
            <a:extLst>
              <a:ext uri="{FF2B5EF4-FFF2-40B4-BE49-F238E27FC236}">
                <a16:creationId xmlns:a16="http://schemas.microsoft.com/office/drawing/2014/main" id="{48A635C8-0152-7143-B32D-FDEA19966461}"/>
              </a:ext>
            </a:extLst>
          </p:cNvPr>
          <p:cNvPicPr>
            <a:picLocks noChangeAspect="1"/>
          </p:cNvPicPr>
          <p:nvPr userDrawn="1"/>
        </p:nvPicPr>
        <p:blipFill>
          <a:blip r:embed="rId2"/>
          <a:stretch>
            <a:fillRect/>
          </a:stretch>
        </p:blipFill>
        <p:spPr>
          <a:xfrm>
            <a:off x="5313350" y="0"/>
            <a:ext cx="6908706" cy="6858000"/>
          </a:xfrm>
          <a:prstGeom prst="rect">
            <a:avLst/>
          </a:prstGeom>
        </p:spPr>
      </p:pic>
      <p:grpSp>
        <p:nvGrpSpPr>
          <p:cNvPr id="14" name="Group 13">
            <a:extLst>
              <a:ext uri="{FF2B5EF4-FFF2-40B4-BE49-F238E27FC236}">
                <a16:creationId xmlns:a16="http://schemas.microsoft.com/office/drawing/2014/main" id="{82B89591-52C3-2E46-8B71-F4344A36ED6B}"/>
              </a:ext>
            </a:extLst>
          </p:cNvPr>
          <p:cNvGrpSpPr/>
          <p:nvPr userDrawn="1"/>
        </p:nvGrpSpPr>
        <p:grpSpPr>
          <a:xfrm>
            <a:off x="4518558" y="0"/>
            <a:ext cx="7703498" cy="6857999"/>
            <a:chOff x="5900738" y="5257800"/>
            <a:chExt cx="650875" cy="579438"/>
          </a:xfrm>
        </p:grpSpPr>
        <p:sp>
          <p:nvSpPr>
            <p:cNvPr id="15" name="Freeform 106">
              <a:extLst>
                <a:ext uri="{FF2B5EF4-FFF2-40B4-BE49-F238E27FC236}">
                  <a16:creationId xmlns:a16="http://schemas.microsoft.com/office/drawing/2014/main" id="{B4AFB5E0-E5BB-5F46-8D94-98DE42138E91}"/>
                </a:ext>
              </a:extLst>
            </p:cNvPr>
            <p:cNvSpPr>
              <a:spLocks noChangeArrowheads="1"/>
            </p:cNvSpPr>
            <p:nvPr/>
          </p:nvSpPr>
          <p:spPr bwMode="auto">
            <a:xfrm>
              <a:off x="5900738" y="5257800"/>
              <a:ext cx="174625" cy="131763"/>
            </a:xfrm>
            <a:custGeom>
              <a:avLst/>
              <a:gdLst>
                <a:gd name="T0" fmla="*/ 50 w 485"/>
                <a:gd name="T1" fmla="*/ 259 h 368"/>
                <a:gd name="T2" fmla="*/ 237 w 485"/>
                <a:gd name="T3" fmla="*/ 367 h 368"/>
                <a:gd name="T4" fmla="*/ 345 w 485"/>
                <a:gd name="T5" fmla="*/ 338 h 368"/>
                <a:gd name="T6" fmla="*/ 424 w 485"/>
                <a:gd name="T7" fmla="*/ 43 h 368"/>
                <a:gd name="T8" fmla="*/ 391 w 485"/>
                <a:gd name="T9" fmla="*/ 0 h 368"/>
                <a:gd name="T10" fmla="*/ 83 w 485"/>
                <a:gd name="T11" fmla="*/ 0 h 368"/>
                <a:gd name="T12" fmla="*/ 50 w 485"/>
                <a:gd name="T13" fmla="*/ 259 h 368"/>
                <a:gd name="T14" fmla="*/ 92 w 485"/>
                <a:gd name="T15" fmla="*/ 112 h 368"/>
                <a:gd name="T16" fmla="*/ 162 w 485"/>
                <a:gd name="T17" fmla="*/ 21 h 368"/>
                <a:gd name="T18" fmla="*/ 237 w 485"/>
                <a:gd name="T19" fmla="*/ 1 h 368"/>
                <a:gd name="T20" fmla="*/ 237 w 485"/>
                <a:gd name="T21" fmla="*/ 1 h 368"/>
                <a:gd name="T22" fmla="*/ 368 w 485"/>
                <a:gd name="T23" fmla="*/ 76 h 368"/>
                <a:gd name="T24" fmla="*/ 312 w 485"/>
                <a:gd name="T25" fmla="*/ 282 h 368"/>
                <a:gd name="T26" fmla="*/ 237 w 485"/>
                <a:gd name="T27" fmla="*/ 302 h 368"/>
                <a:gd name="T28" fmla="*/ 107 w 485"/>
                <a:gd name="T29" fmla="*/ 227 h 368"/>
                <a:gd name="T30" fmla="*/ 92 w 485"/>
                <a:gd name="T31"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5" h="368">
                  <a:moveTo>
                    <a:pt x="50" y="259"/>
                  </a:moveTo>
                  <a:cubicBezTo>
                    <a:pt x="90" y="329"/>
                    <a:pt x="163" y="367"/>
                    <a:pt x="237" y="367"/>
                  </a:cubicBezTo>
                  <a:cubicBezTo>
                    <a:pt x="274" y="367"/>
                    <a:pt x="311" y="358"/>
                    <a:pt x="345" y="338"/>
                  </a:cubicBezTo>
                  <a:cubicBezTo>
                    <a:pt x="448" y="279"/>
                    <a:pt x="484" y="147"/>
                    <a:pt x="424" y="43"/>
                  </a:cubicBezTo>
                  <a:cubicBezTo>
                    <a:pt x="415" y="27"/>
                    <a:pt x="404" y="13"/>
                    <a:pt x="391" y="0"/>
                  </a:cubicBezTo>
                  <a:lnTo>
                    <a:pt x="83" y="0"/>
                  </a:lnTo>
                  <a:cubicBezTo>
                    <a:pt x="17" y="67"/>
                    <a:pt x="0" y="173"/>
                    <a:pt x="50" y="259"/>
                  </a:cubicBezTo>
                  <a:close/>
                  <a:moveTo>
                    <a:pt x="92" y="112"/>
                  </a:moveTo>
                  <a:cubicBezTo>
                    <a:pt x="102" y="74"/>
                    <a:pt x="127" y="41"/>
                    <a:pt x="162" y="21"/>
                  </a:cubicBezTo>
                  <a:cubicBezTo>
                    <a:pt x="185" y="8"/>
                    <a:pt x="211" y="1"/>
                    <a:pt x="237" y="1"/>
                  </a:cubicBezTo>
                  <a:lnTo>
                    <a:pt x="237" y="1"/>
                  </a:lnTo>
                  <a:cubicBezTo>
                    <a:pt x="291" y="1"/>
                    <a:pt x="341" y="30"/>
                    <a:pt x="368" y="76"/>
                  </a:cubicBezTo>
                  <a:cubicBezTo>
                    <a:pt x="409" y="148"/>
                    <a:pt x="384" y="240"/>
                    <a:pt x="312" y="282"/>
                  </a:cubicBezTo>
                  <a:cubicBezTo>
                    <a:pt x="290" y="295"/>
                    <a:pt x="264" y="302"/>
                    <a:pt x="237" y="302"/>
                  </a:cubicBezTo>
                  <a:cubicBezTo>
                    <a:pt x="184" y="302"/>
                    <a:pt x="134" y="273"/>
                    <a:pt x="107" y="227"/>
                  </a:cubicBezTo>
                  <a:cubicBezTo>
                    <a:pt x="87" y="192"/>
                    <a:pt x="81" y="151"/>
                    <a:pt x="92" y="112"/>
                  </a:cubicBezTo>
                  <a:close/>
                </a:path>
              </a:pathLst>
            </a:custGeom>
            <a:solidFill>
              <a:schemeClr val="accent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6" name="Freeform 107">
              <a:extLst>
                <a:ext uri="{FF2B5EF4-FFF2-40B4-BE49-F238E27FC236}">
                  <a16:creationId xmlns:a16="http://schemas.microsoft.com/office/drawing/2014/main" id="{0326EEED-3684-BF4D-BAEA-A58D97679E62}"/>
                </a:ext>
              </a:extLst>
            </p:cNvPr>
            <p:cNvSpPr>
              <a:spLocks noChangeArrowheads="1"/>
            </p:cNvSpPr>
            <p:nvPr/>
          </p:nvSpPr>
          <p:spPr bwMode="auto">
            <a:xfrm>
              <a:off x="6022975" y="5699125"/>
              <a:ext cx="323850" cy="138113"/>
            </a:xfrm>
            <a:custGeom>
              <a:avLst/>
              <a:gdLst>
                <a:gd name="T0" fmla="*/ 852 w 898"/>
                <a:gd name="T1" fmla="*/ 139 h 382"/>
                <a:gd name="T2" fmla="*/ 557 w 898"/>
                <a:gd name="T3" fmla="*/ 60 h 382"/>
                <a:gd name="T4" fmla="*/ 0 w 898"/>
                <a:gd name="T5" fmla="*/ 381 h 382"/>
                <a:gd name="T6" fmla="*/ 834 w 898"/>
                <a:gd name="T7" fmla="*/ 381 h 382"/>
                <a:gd name="T8" fmla="*/ 852 w 898"/>
                <a:gd name="T9" fmla="*/ 139 h 382"/>
              </a:gdLst>
              <a:ahLst/>
              <a:cxnLst>
                <a:cxn ang="0">
                  <a:pos x="T0" y="T1"/>
                </a:cxn>
                <a:cxn ang="0">
                  <a:pos x="T2" y="T3"/>
                </a:cxn>
                <a:cxn ang="0">
                  <a:pos x="T4" y="T5"/>
                </a:cxn>
                <a:cxn ang="0">
                  <a:pos x="T6" y="T7"/>
                </a:cxn>
                <a:cxn ang="0">
                  <a:pos x="T8" y="T9"/>
                </a:cxn>
              </a:cxnLst>
              <a:rect l="0" t="0" r="r" b="b"/>
              <a:pathLst>
                <a:path w="898" h="382">
                  <a:moveTo>
                    <a:pt x="852" y="139"/>
                  </a:moveTo>
                  <a:cubicBezTo>
                    <a:pt x="792" y="35"/>
                    <a:pt x="660" y="0"/>
                    <a:pt x="557" y="60"/>
                  </a:cubicBezTo>
                  <a:lnTo>
                    <a:pt x="0" y="381"/>
                  </a:lnTo>
                  <a:lnTo>
                    <a:pt x="834" y="381"/>
                  </a:lnTo>
                  <a:cubicBezTo>
                    <a:pt x="887" y="314"/>
                    <a:pt x="897" y="218"/>
                    <a:pt x="852" y="139"/>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7" name="Freeform 108">
              <a:extLst>
                <a:ext uri="{FF2B5EF4-FFF2-40B4-BE49-F238E27FC236}">
                  <a16:creationId xmlns:a16="http://schemas.microsoft.com/office/drawing/2014/main" id="{AAA2C315-D66A-7547-BF01-47D01F1B5DB5}"/>
                </a:ext>
              </a:extLst>
            </p:cNvPr>
            <p:cNvSpPr>
              <a:spLocks noChangeArrowheads="1"/>
            </p:cNvSpPr>
            <p:nvPr/>
          </p:nvSpPr>
          <p:spPr bwMode="auto">
            <a:xfrm>
              <a:off x="6457950" y="5545138"/>
              <a:ext cx="93663" cy="157162"/>
            </a:xfrm>
            <a:custGeom>
              <a:avLst/>
              <a:gdLst>
                <a:gd name="T0" fmla="*/ 139 w 258"/>
                <a:gd name="T1" fmla="*/ 31 h 438"/>
                <a:gd name="T2" fmla="*/ 60 w 258"/>
                <a:gd name="T3" fmla="*/ 326 h 438"/>
                <a:gd name="T4" fmla="*/ 257 w 258"/>
                <a:gd name="T5" fmla="*/ 433 h 438"/>
                <a:gd name="T6" fmla="*/ 257 w 258"/>
                <a:gd name="T7" fmla="*/ 2 h 438"/>
                <a:gd name="T8" fmla="*/ 139 w 258"/>
                <a:gd name="T9" fmla="*/ 31 h 438"/>
              </a:gdLst>
              <a:ahLst/>
              <a:cxnLst>
                <a:cxn ang="0">
                  <a:pos x="T0" y="T1"/>
                </a:cxn>
                <a:cxn ang="0">
                  <a:pos x="T2" y="T3"/>
                </a:cxn>
                <a:cxn ang="0">
                  <a:pos x="T4" y="T5"/>
                </a:cxn>
                <a:cxn ang="0">
                  <a:pos x="T6" y="T7"/>
                </a:cxn>
                <a:cxn ang="0">
                  <a:pos x="T8" y="T9"/>
                </a:cxn>
              </a:cxnLst>
              <a:rect l="0" t="0" r="r" b="b"/>
              <a:pathLst>
                <a:path w="258" h="438">
                  <a:moveTo>
                    <a:pt x="139" y="31"/>
                  </a:moveTo>
                  <a:cubicBezTo>
                    <a:pt x="36" y="90"/>
                    <a:pt x="0" y="222"/>
                    <a:pt x="60" y="326"/>
                  </a:cubicBezTo>
                  <a:cubicBezTo>
                    <a:pt x="102" y="398"/>
                    <a:pt x="179" y="437"/>
                    <a:pt x="257" y="433"/>
                  </a:cubicBezTo>
                  <a:lnTo>
                    <a:pt x="257" y="2"/>
                  </a:lnTo>
                  <a:cubicBezTo>
                    <a:pt x="217" y="0"/>
                    <a:pt x="176" y="9"/>
                    <a:pt x="139" y="31"/>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3093951287"/>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_Call-out + image v2b">
    <p:spTree>
      <p:nvGrpSpPr>
        <p:cNvPr id="1" name=""/>
        <p:cNvGrpSpPr/>
        <p:nvPr/>
      </p:nvGrpSpPr>
      <p:grpSpPr>
        <a:xfrm>
          <a:off x="0" y="0"/>
          <a:ext cx="0" cy="0"/>
          <a:chOff x="0" y="0"/>
          <a:chExt cx="0" cy="0"/>
        </a:xfrm>
      </p:grpSpPr>
      <p:sp>
        <p:nvSpPr>
          <p:cNvPr id="2" name="Title 1"/>
          <p:cNvSpPr>
            <a:spLocks noGrp="1"/>
          </p:cNvSpPr>
          <p:nvPr>
            <p:ph type="ctrTitle"/>
          </p:nvPr>
        </p:nvSpPr>
        <p:spPr>
          <a:xfrm>
            <a:off x="468000" y="457200"/>
            <a:ext cx="5155200" cy="457200"/>
          </a:xfrm>
        </p:spPr>
        <p:txBody>
          <a:bodyPr vert="horz" lIns="0" tIns="0" rIns="0" bIns="0" rtlCol="0" anchor="t" anchorCtr="0">
            <a:noAutofit/>
          </a:bodyPr>
          <a:lstStyle>
            <a:lvl1pPr algn="l">
              <a:lnSpc>
                <a:spcPts val="2120"/>
              </a:lnSpc>
              <a:defRPr lang="en-GB" noProof="0" dirty="0"/>
            </a:lvl1pPr>
          </a:lstStyle>
          <a:p>
            <a:pPr lvl="0"/>
            <a:r>
              <a:rPr lang="en-US" noProof="0" dirty="0"/>
              <a:t>Click to edit Master title style</a:t>
            </a:r>
            <a:endParaRPr lang="en-GB" noProof="0" dirty="0"/>
          </a:p>
        </p:txBody>
      </p:sp>
      <p:sp>
        <p:nvSpPr>
          <p:cNvPr id="6" name="Footer Placeholder 5">
            <a:extLst>
              <a:ext uri="{FF2B5EF4-FFF2-40B4-BE49-F238E27FC236}">
                <a16:creationId xmlns:a16="http://schemas.microsoft.com/office/drawing/2014/main" id="{184F4E7D-A950-4778-8BC5-6A7D69AFC0FB}"/>
              </a:ext>
            </a:extLst>
          </p:cNvPr>
          <p:cNvSpPr>
            <a:spLocks noGrp="1"/>
          </p:cNvSpPr>
          <p:nvPr>
            <p:ph type="ftr" sz="quarter" idx="13"/>
          </p:nvPr>
        </p:nvSpPr>
        <p:spPr/>
        <p:txBody>
          <a:bodyPr/>
          <a:lstStyle/>
          <a:p>
            <a:pPr algn="l">
              <a:lnSpc>
                <a:spcPts val="970"/>
              </a:lnSpc>
            </a:pPr>
            <a:r>
              <a:rPr lang="en-GB" dirty="0"/>
              <a:t>© Colt Technology Services  |  Presentation title here</a:t>
            </a:r>
          </a:p>
        </p:txBody>
      </p:sp>
      <p:sp>
        <p:nvSpPr>
          <p:cNvPr id="10" name="Text Placeholder 9">
            <a:extLst>
              <a:ext uri="{FF2B5EF4-FFF2-40B4-BE49-F238E27FC236}">
                <a16:creationId xmlns:a16="http://schemas.microsoft.com/office/drawing/2014/main" id="{40C6BB52-481B-46AE-9210-2C30607BF2FD}"/>
              </a:ext>
            </a:extLst>
          </p:cNvPr>
          <p:cNvSpPr>
            <a:spLocks noGrp="1"/>
          </p:cNvSpPr>
          <p:nvPr>
            <p:ph type="body" sz="quarter" idx="15"/>
          </p:nvPr>
        </p:nvSpPr>
        <p:spPr>
          <a:xfrm>
            <a:off x="468313" y="1332000"/>
            <a:ext cx="4224337" cy="3348037"/>
          </a:xfrm>
        </p:spPr>
        <p:txBody>
          <a:bodyPr/>
          <a:lstStyle>
            <a:lvl1pPr>
              <a:lnSpc>
                <a:spcPts val="3170"/>
              </a:lnSpc>
              <a:spcAft>
                <a:spcPts val="0"/>
              </a:spcAft>
              <a:defRPr sz="2530"/>
            </a:lvl1pPr>
          </a:lstStyle>
          <a:p>
            <a:pPr lvl="0"/>
            <a:r>
              <a:rPr lang="en-US" dirty="0"/>
              <a:t>Click to edit Master text styles</a:t>
            </a:r>
            <a:endParaRPr lang="en-GB" dirty="0"/>
          </a:p>
        </p:txBody>
      </p:sp>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p:txBody>
          <a:body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pic>
        <p:nvPicPr>
          <p:cNvPr id="13" name="Picture 12">
            <a:extLst>
              <a:ext uri="{FF2B5EF4-FFF2-40B4-BE49-F238E27FC236}">
                <a16:creationId xmlns:a16="http://schemas.microsoft.com/office/drawing/2014/main" id="{976141AA-07D4-D34C-8044-EF0C73AD27D3}"/>
              </a:ext>
            </a:extLst>
          </p:cNvPr>
          <p:cNvPicPr>
            <a:picLocks noChangeAspect="1"/>
          </p:cNvPicPr>
          <p:nvPr userDrawn="1"/>
        </p:nvPicPr>
        <p:blipFill>
          <a:blip r:embed="rId2"/>
          <a:stretch>
            <a:fillRect/>
          </a:stretch>
        </p:blipFill>
        <p:spPr>
          <a:xfrm>
            <a:off x="5285851" y="11877"/>
            <a:ext cx="6908706" cy="6858000"/>
          </a:xfrm>
          <a:prstGeom prst="rect">
            <a:avLst/>
          </a:prstGeom>
        </p:spPr>
      </p:pic>
      <p:grpSp>
        <p:nvGrpSpPr>
          <p:cNvPr id="14" name="Group 13">
            <a:extLst>
              <a:ext uri="{FF2B5EF4-FFF2-40B4-BE49-F238E27FC236}">
                <a16:creationId xmlns:a16="http://schemas.microsoft.com/office/drawing/2014/main" id="{AA49ACFF-8B44-4B49-9D24-C253C7C94EB2}"/>
              </a:ext>
            </a:extLst>
          </p:cNvPr>
          <p:cNvGrpSpPr/>
          <p:nvPr userDrawn="1"/>
        </p:nvGrpSpPr>
        <p:grpSpPr>
          <a:xfrm>
            <a:off x="4488502" y="-11876"/>
            <a:ext cx="7703498" cy="6857999"/>
            <a:chOff x="5900738" y="5257800"/>
            <a:chExt cx="650875" cy="579438"/>
          </a:xfrm>
        </p:grpSpPr>
        <p:sp>
          <p:nvSpPr>
            <p:cNvPr id="15" name="Freeform 106">
              <a:extLst>
                <a:ext uri="{FF2B5EF4-FFF2-40B4-BE49-F238E27FC236}">
                  <a16:creationId xmlns:a16="http://schemas.microsoft.com/office/drawing/2014/main" id="{89F91935-1C6A-8741-8DF0-B5837F8687FC}"/>
                </a:ext>
              </a:extLst>
            </p:cNvPr>
            <p:cNvSpPr>
              <a:spLocks noChangeArrowheads="1"/>
            </p:cNvSpPr>
            <p:nvPr/>
          </p:nvSpPr>
          <p:spPr bwMode="auto">
            <a:xfrm>
              <a:off x="5900738" y="5257800"/>
              <a:ext cx="174625" cy="131763"/>
            </a:xfrm>
            <a:custGeom>
              <a:avLst/>
              <a:gdLst>
                <a:gd name="T0" fmla="*/ 50 w 485"/>
                <a:gd name="T1" fmla="*/ 259 h 368"/>
                <a:gd name="T2" fmla="*/ 237 w 485"/>
                <a:gd name="T3" fmla="*/ 367 h 368"/>
                <a:gd name="T4" fmla="*/ 345 w 485"/>
                <a:gd name="T5" fmla="*/ 338 h 368"/>
                <a:gd name="T6" fmla="*/ 424 w 485"/>
                <a:gd name="T7" fmla="*/ 43 h 368"/>
                <a:gd name="T8" fmla="*/ 391 w 485"/>
                <a:gd name="T9" fmla="*/ 0 h 368"/>
                <a:gd name="T10" fmla="*/ 83 w 485"/>
                <a:gd name="T11" fmla="*/ 0 h 368"/>
                <a:gd name="T12" fmla="*/ 50 w 485"/>
                <a:gd name="T13" fmla="*/ 259 h 368"/>
                <a:gd name="T14" fmla="*/ 92 w 485"/>
                <a:gd name="T15" fmla="*/ 112 h 368"/>
                <a:gd name="T16" fmla="*/ 162 w 485"/>
                <a:gd name="T17" fmla="*/ 21 h 368"/>
                <a:gd name="T18" fmla="*/ 237 w 485"/>
                <a:gd name="T19" fmla="*/ 1 h 368"/>
                <a:gd name="T20" fmla="*/ 237 w 485"/>
                <a:gd name="T21" fmla="*/ 1 h 368"/>
                <a:gd name="T22" fmla="*/ 368 w 485"/>
                <a:gd name="T23" fmla="*/ 76 h 368"/>
                <a:gd name="T24" fmla="*/ 312 w 485"/>
                <a:gd name="T25" fmla="*/ 282 h 368"/>
                <a:gd name="T26" fmla="*/ 237 w 485"/>
                <a:gd name="T27" fmla="*/ 302 h 368"/>
                <a:gd name="T28" fmla="*/ 107 w 485"/>
                <a:gd name="T29" fmla="*/ 227 h 368"/>
                <a:gd name="T30" fmla="*/ 92 w 485"/>
                <a:gd name="T31"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5" h="368">
                  <a:moveTo>
                    <a:pt x="50" y="259"/>
                  </a:moveTo>
                  <a:cubicBezTo>
                    <a:pt x="90" y="329"/>
                    <a:pt x="163" y="367"/>
                    <a:pt x="237" y="367"/>
                  </a:cubicBezTo>
                  <a:cubicBezTo>
                    <a:pt x="274" y="367"/>
                    <a:pt x="311" y="358"/>
                    <a:pt x="345" y="338"/>
                  </a:cubicBezTo>
                  <a:cubicBezTo>
                    <a:pt x="448" y="279"/>
                    <a:pt x="484" y="147"/>
                    <a:pt x="424" y="43"/>
                  </a:cubicBezTo>
                  <a:cubicBezTo>
                    <a:pt x="415" y="27"/>
                    <a:pt x="404" y="13"/>
                    <a:pt x="391" y="0"/>
                  </a:cubicBezTo>
                  <a:lnTo>
                    <a:pt x="83" y="0"/>
                  </a:lnTo>
                  <a:cubicBezTo>
                    <a:pt x="17" y="67"/>
                    <a:pt x="0" y="173"/>
                    <a:pt x="50" y="259"/>
                  </a:cubicBezTo>
                  <a:close/>
                  <a:moveTo>
                    <a:pt x="92" y="112"/>
                  </a:moveTo>
                  <a:cubicBezTo>
                    <a:pt x="102" y="74"/>
                    <a:pt x="127" y="41"/>
                    <a:pt x="162" y="21"/>
                  </a:cubicBezTo>
                  <a:cubicBezTo>
                    <a:pt x="185" y="8"/>
                    <a:pt x="211" y="1"/>
                    <a:pt x="237" y="1"/>
                  </a:cubicBezTo>
                  <a:lnTo>
                    <a:pt x="237" y="1"/>
                  </a:lnTo>
                  <a:cubicBezTo>
                    <a:pt x="291" y="1"/>
                    <a:pt x="341" y="30"/>
                    <a:pt x="368" y="76"/>
                  </a:cubicBezTo>
                  <a:cubicBezTo>
                    <a:pt x="409" y="148"/>
                    <a:pt x="384" y="240"/>
                    <a:pt x="312" y="282"/>
                  </a:cubicBezTo>
                  <a:cubicBezTo>
                    <a:pt x="290" y="295"/>
                    <a:pt x="264" y="302"/>
                    <a:pt x="237" y="302"/>
                  </a:cubicBezTo>
                  <a:cubicBezTo>
                    <a:pt x="184" y="302"/>
                    <a:pt x="134" y="273"/>
                    <a:pt x="107" y="227"/>
                  </a:cubicBezTo>
                  <a:cubicBezTo>
                    <a:pt x="87" y="192"/>
                    <a:pt x="81" y="151"/>
                    <a:pt x="92" y="112"/>
                  </a:cubicBezTo>
                  <a:close/>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6" name="Freeform 107">
              <a:extLst>
                <a:ext uri="{FF2B5EF4-FFF2-40B4-BE49-F238E27FC236}">
                  <a16:creationId xmlns:a16="http://schemas.microsoft.com/office/drawing/2014/main" id="{C6ABE712-0F92-0C40-9BF8-8C7934C3A5B1}"/>
                </a:ext>
              </a:extLst>
            </p:cNvPr>
            <p:cNvSpPr>
              <a:spLocks noChangeArrowheads="1"/>
            </p:cNvSpPr>
            <p:nvPr/>
          </p:nvSpPr>
          <p:spPr bwMode="auto">
            <a:xfrm>
              <a:off x="6022975" y="5699125"/>
              <a:ext cx="323850" cy="138113"/>
            </a:xfrm>
            <a:custGeom>
              <a:avLst/>
              <a:gdLst>
                <a:gd name="T0" fmla="*/ 852 w 898"/>
                <a:gd name="T1" fmla="*/ 139 h 382"/>
                <a:gd name="T2" fmla="*/ 557 w 898"/>
                <a:gd name="T3" fmla="*/ 60 h 382"/>
                <a:gd name="T4" fmla="*/ 0 w 898"/>
                <a:gd name="T5" fmla="*/ 381 h 382"/>
                <a:gd name="T6" fmla="*/ 834 w 898"/>
                <a:gd name="T7" fmla="*/ 381 h 382"/>
                <a:gd name="T8" fmla="*/ 852 w 898"/>
                <a:gd name="T9" fmla="*/ 139 h 382"/>
              </a:gdLst>
              <a:ahLst/>
              <a:cxnLst>
                <a:cxn ang="0">
                  <a:pos x="T0" y="T1"/>
                </a:cxn>
                <a:cxn ang="0">
                  <a:pos x="T2" y="T3"/>
                </a:cxn>
                <a:cxn ang="0">
                  <a:pos x="T4" y="T5"/>
                </a:cxn>
                <a:cxn ang="0">
                  <a:pos x="T6" y="T7"/>
                </a:cxn>
                <a:cxn ang="0">
                  <a:pos x="T8" y="T9"/>
                </a:cxn>
              </a:cxnLst>
              <a:rect l="0" t="0" r="r" b="b"/>
              <a:pathLst>
                <a:path w="898" h="382">
                  <a:moveTo>
                    <a:pt x="852" y="139"/>
                  </a:moveTo>
                  <a:cubicBezTo>
                    <a:pt x="792" y="35"/>
                    <a:pt x="660" y="0"/>
                    <a:pt x="557" y="60"/>
                  </a:cubicBezTo>
                  <a:lnTo>
                    <a:pt x="0" y="381"/>
                  </a:lnTo>
                  <a:lnTo>
                    <a:pt x="834" y="381"/>
                  </a:lnTo>
                  <a:cubicBezTo>
                    <a:pt x="887" y="314"/>
                    <a:pt x="897" y="218"/>
                    <a:pt x="852" y="139"/>
                  </a:cubicBezTo>
                </a:path>
              </a:pathLst>
            </a:custGeom>
            <a:solidFill>
              <a:schemeClr val="accent3">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7" name="Freeform 108">
              <a:extLst>
                <a:ext uri="{FF2B5EF4-FFF2-40B4-BE49-F238E27FC236}">
                  <a16:creationId xmlns:a16="http://schemas.microsoft.com/office/drawing/2014/main" id="{92364FD2-8F7B-FB42-8F79-2F11F2A4BEF4}"/>
                </a:ext>
              </a:extLst>
            </p:cNvPr>
            <p:cNvSpPr>
              <a:spLocks noChangeArrowheads="1"/>
            </p:cNvSpPr>
            <p:nvPr/>
          </p:nvSpPr>
          <p:spPr bwMode="auto">
            <a:xfrm>
              <a:off x="6457950" y="5545138"/>
              <a:ext cx="93663" cy="157162"/>
            </a:xfrm>
            <a:custGeom>
              <a:avLst/>
              <a:gdLst>
                <a:gd name="T0" fmla="*/ 139 w 258"/>
                <a:gd name="T1" fmla="*/ 31 h 438"/>
                <a:gd name="T2" fmla="*/ 60 w 258"/>
                <a:gd name="T3" fmla="*/ 326 h 438"/>
                <a:gd name="T4" fmla="*/ 257 w 258"/>
                <a:gd name="T5" fmla="*/ 433 h 438"/>
                <a:gd name="T6" fmla="*/ 257 w 258"/>
                <a:gd name="T7" fmla="*/ 2 h 438"/>
                <a:gd name="T8" fmla="*/ 139 w 258"/>
                <a:gd name="T9" fmla="*/ 31 h 438"/>
              </a:gdLst>
              <a:ahLst/>
              <a:cxnLst>
                <a:cxn ang="0">
                  <a:pos x="T0" y="T1"/>
                </a:cxn>
                <a:cxn ang="0">
                  <a:pos x="T2" y="T3"/>
                </a:cxn>
                <a:cxn ang="0">
                  <a:pos x="T4" y="T5"/>
                </a:cxn>
                <a:cxn ang="0">
                  <a:pos x="T6" y="T7"/>
                </a:cxn>
                <a:cxn ang="0">
                  <a:pos x="T8" y="T9"/>
                </a:cxn>
              </a:cxnLst>
              <a:rect l="0" t="0" r="r" b="b"/>
              <a:pathLst>
                <a:path w="258" h="438">
                  <a:moveTo>
                    <a:pt x="139" y="31"/>
                  </a:moveTo>
                  <a:cubicBezTo>
                    <a:pt x="36" y="90"/>
                    <a:pt x="0" y="222"/>
                    <a:pt x="60" y="326"/>
                  </a:cubicBezTo>
                  <a:cubicBezTo>
                    <a:pt x="102" y="398"/>
                    <a:pt x="179" y="437"/>
                    <a:pt x="257" y="433"/>
                  </a:cubicBezTo>
                  <a:lnTo>
                    <a:pt x="257" y="2"/>
                  </a:lnTo>
                  <a:cubicBezTo>
                    <a:pt x="217" y="0"/>
                    <a:pt x="176" y="9"/>
                    <a:pt x="139" y="31"/>
                  </a:cubicBezTo>
                </a:path>
              </a:pathLst>
            </a:custGeom>
            <a:solidFill>
              <a:schemeClr val="accent3">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179669682"/>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all-out + image v3b">
    <p:spTree>
      <p:nvGrpSpPr>
        <p:cNvPr id="1" name=""/>
        <p:cNvGrpSpPr/>
        <p:nvPr/>
      </p:nvGrpSpPr>
      <p:grpSpPr>
        <a:xfrm>
          <a:off x="0" y="0"/>
          <a:ext cx="0" cy="0"/>
          <a:chOff x="0" y="0"/>
          <a:chExt cx="0" cy="0"/>
        </a:xfrm>
      </p:grpSpPr>
      <p:sp>
        <p:nvSpPr>
          <p:cNvPr id="2" name="Title 1"/>
          <p:cNvSpPr>
            <a:spLocks noGrp="1"/>
          </p:cNvSpPr>
          <p:nvPr>
            <p:ph type="ctrTitle"/>
          </p:nvPr>
        </p:nvSpPr>
        <p:spPr>
          <a:xfrm>
            <a:off x="468000" y="457200"/>
            <a:ext cx="5155200" cy="457200"/>
          </a:xfrm>
        </p:spPr>
        <p:txBody>
          <a:bodyPr vert="horz" lIns="0" tIns="0" rIns="0" bIns="0" rtlCol="0" anchor="t" anchorCtr="0">
            <a:noAutofit/>
          </a:bodyPr>
          <a:lstStyle>
            <a:lvl1pPr algn="l">
              <a:lnSpc>
                <a:spcPts val="2120"/>
              </a:lnSpc>
              <a:defRPr lang="en-GB" noProof="0" dirty="0"/>
            </a:lvl1pPr>
          </a:lstStyle>
          <a:p>
            <a:pPr lvl="0"/>
            <a:r>
              <a:rPr lang="en-US" noProof="0" dirty="0"/>
              <a:t>Click to edit Master title style</a:t>
            </a:r>
            <a:endParaRPr lang="en-GB" noProof="0" dirty="0"/>
          </a:p>
        </p:txBody>
      </p:sp>
      <p:sp>
        <p:nvSpPr>
          <p:cNvPr id="6" name="Footer Placeholder 5">
            <a:extLst>
              <a:ext uri="{FF2B5EF4-FFF2-40B4-BE49-F238E27FC236}">
                <a16:creationId xmlns:a16="http://schemas.microsoft.com/office/drawing/2014/main" id="{184F4E7D-A950-4778-8BC5-6A7D69AFC0FB}"/>
              </a:ext>
            </a:extLst>
          </p:cNvPr>
          <p:cNvSpPr>
            <a:spLocks noGrp="1"/>
          </p:cNvSpPr>
          <p:nvPr>
            <p:ph type="ftr" sz="quarter" idx="13"/>
          </p:nvPr>
        </p:nvSpPr>
        <p:spPr/>
        <p:txBody>
          <a:bodyPr/>
          <a:lstStyle/>
          <a:p>
            <a:pPr algn="l">
              <a:lnSpc>
                <a:spcPts val="970"/>
              </a:lnSpc>
            </a:pPr>
            <a:r>
              <a:rPr lang="en-GB" dirty="0"/>
              <a:t>© Colt Technology Services  |  Presentation title here</a:t>
            </a:r>
          </a:p>
        </p:txBody>
      </p:sp>
      <p:sp>
        <p:nvSpPr>
          <p:cNvPr id="10" name="Text Placeholder 9">
            <a:extLst>
              <a:ext uri="{FF2B5EF4-FFF2-40B4-BE49-F238E27FC236}">
                <a16:creationId xmlns:a16="http://schemas.microsoft.com/office/drawing/2014/main" id="{40C6BB52-481B-46AE-9210-2C30607BF2FD}"/>
              </a:ext>
            </a:extLst>
          </p:cNvPr>
          <p:cNvSpPr>
            <a:spLocks noGrp="1"/>
          </p:cNvSpPr>
          <p:nvPr>
            <p:ph type="body" sz="quarter" idx="15"/>
          </p:nvPr>
        </p:nvSpPr>
        <p:spPr>
          <a:xfrm>
            <a:off x="468313" y="1332000"/>
            <a:ext cx="4224337" cy="3348037"/>
          </a:xfrm>
        </p:spPr>
        <p:txBody>
          <a:bodyPr/>
          <a:lstStyle>
            <a:lvl1pPr>
              <a:lnSpc>
                <a:spcPts val="3170"/>
              </a:lnSpc>
              <a:spcAft>
                <a:spcPts val="0"/>
              </a:spcAft>
              <a:defRPr sz="2530"/>
            </a:lvl1pPr>
          </a:lstStyle>
          <a:p>
            <a:pPr lvl="0"/>
            <a:r>
              <a:rPr lang="en-US" dirty="0"/>
              <a:t>Click to edit Master text styles</a:t>
            </a:r>
            <a:endParaRPr lang="en-GB" dirty="0"/>
          </a:p>
        </p:txBody>
      </p:sp>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p:txBody>
          <a:body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pic>
        <p:nvPicPr>
          <p:cNvPr id="13" name="Picture 12">
            <a:extLst>
              <a:ext uri="{FF2B5EF4-FFF2-40B4-BE49-F238E27FC236}">
                <a16:creationId xmlns:a16="http://schemas.microsoft.com/office/drawing/2014/main" id="{8821A710-4E7D-1947-B0EE-A772179411B9}"/>
              </a:ext>
            </a:extLst>
          </p:cNvPr>
          <p:cNvPicPr>
            <a:picLocks noChangeAspect="1"/>
          </p:cNvPicPr>
          <p:nvPr userDrawn="1"/>
        </p:nvPicPr>
        <p:blipFill>
          <a:blip r:embed="rId2"/>
          <a:stretch>
            <a:fillRect/>
          </a:stretch>
        </p:blipFill>
        <p:spPr>
          <a:xfrm>
            <a:off x="5724177" y="457200"/>
            <a:ext cx="5943600" cy="5943600"/>
          </a:xfrm>
          <a:prstGeom prst="rect">
            <a:avLst/>
          </a:prstGeom>
        </p:spPr>
      </p:pic>
      <p:grpSp>
        <p:nvGrpSpPr>
          <p:cNvPr id="14" name="Group 13">
            <a:extLst>
              <a:ext uri="{FF2B5EF4-FFF2-40B4-BE49-F238E27FC236}">
                <a16:creationId xmlns:a16="http://schemas.microsoft.com/office/drawing/2014/main" id="{92D12F59-2EC4-624C-B15E-732DE959186A}"/>
              </a:ext>
            </a:extLst>
          </p:cNvPr>
          <p:cNvGrpSpPr/>
          <p:nvPr userDrawn="1"/>
        </p:nvGrpSpPr>
        <p:grpSpPr>
          <a:xfrm>
            <a:off x="4518558" y="0"/>
            <a:ext cx="7703498" cy="6857999"/>
            <a:chOff x="5900738" y="5257800"/>
            <a:chExt cx="650875" cy="579438"/>
          </a:xfrm>
        </p:grpSpPr>
        <p:sp>
          <p:nvSpPr>
            <p:cNvPr id="15" name="Freeform 106">
              <a:extLst>
                <a:ext uri="{FF2B5EF4-FFF2-40B4-BE49-F238E27FC236}">
                  <a16:creationId xmlns:a16="http://schemas.microsoft.com/office/drawing/2014/main" id="{4F9C6C07-A383-EC42-B1C4-F9A5F51B1B6A}"/>
                </a:ext>
              </a:extLst>
            </p:cNvPr>
            <p:cNvSpPr>
              <a:spLocks noChangeArrowheads="1"/>
            </p:cNvSpPr>
            <p:nvPr/>
          </p:nvSpPr>
          <p:spPr bwMode="auto">
            <a:xfrm>
              <a:off x="5900738" y="5257800"/>
              <a:ext cx="174625" cy="131763"/>
            </a:xfrm>
            <a:custGeom>
              <a:avLst/>
              <a:gdLst>
                <a:gd name="T0" fmla="*/ 50 w 485"/>
                <a:gd name="T1" fmla="*/ 259 h 368"/>
                <a:gd name="T2" fmla="*/ 237 w 485"/>
                <a:gd name="T3" fmla="*/ 367 h 368"/>
                <a:gd name="T4" fmla="*/ 345 w 485"/>
                <a:gd name="T5" fmla="*/ 338 h 368"/>
                <a:gd name="T6" fmla="*/ 424 w 485"/>
                <a:gd name="T7" fmla="*/ 43 h 368"/>
                <a:gd name="T8" fmla="*/ 391 w 485"/>
                <a:gd name="T9" fmla="*/ 0 h 368"/>
                <a:gd name="T10" fmla="*/ 83 w 485"/>
                <a:gd name="T11" fmla="*/ 0 h 368"/>
                <a:gd name="T12" fmla="*/ 50 w 485"/>
                <a:gd name="T13" fmla="*/ 259 h 368"/>
                <a:gd name="T14" fmla="*/ 92 w 485"/>
                <a:gd name="T15" fmla="*/ 112 h 368"/>
                <a:gd name="T16" fmla="*/ 162 w 485"/>
                <a:gd name="T17" fmla="*/ 21 h 368"/>
                <a:gd name="T18" fmla="*/ 237 w 485"/>
                <a:gd name="T19" fmla="*/ 1 h 368"/>
                <a:gd name="T20" fmla="*/ 237 w 485"/>
                <a:gd name="T21" fmla="*/ 1 h 368"/>
                <a:gd name="T22" fmla="*/ 368 w 485"/>
                <a:gd name="T23" fmla="*/ 76 h 368"/>
                <a:gd name="T24" fmla="*/ 312 w 485"/>
                <a:gd name="T25" fmla="*/ 282 h 368"/>
                <a:gd name="T26" fmla="*/ 237 w 485"/>
                <a:gd name="T27" fmla="*/ 302 h 368"/>
                <a:gd name="T28" fmla="*/ 107 w 485"/>
                <a:gd name="T29" fmla="*/ 227 h 368"/>
                <a:gd name="T30" fmla="*/ 92 w 485"/>
                <a:gd name="T31" fmla="*/ 112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85" h="368">
                  <a:moveTo>
                    <a:pt x="50" y="259"/>
                  </a:moveTo>
                  <a:cubicBezTo>
                    <a:pt x="90" y="329"/>
                    <a:pt x="163" y="367"/>
                    <a:pt x="237" y="367"/>
                  </a:cubicBezTo>
                  <a:cubicBezTo>
                    <a:pt x="274" y="367"/>
                    <a:pt x="311" y="358"/>
                    <a:pt x="345" y="338"/>
                  </a:cubicBezTo>
                  <a:cubicBezTo>
                    <a:pt x="448" y="279"/>
                    <a:pt x="484" y="147"/>
                    <a:pt x="424" y="43"/>
                  </a:cubicBezTo>
                  <a:cubicBezTo>
                    <a:pt x="415" y="27"/>
                    <a:pt x="404" y="13"/>
                    <a:pt x="391" y="0"/>
                  </a:cubicBezTo>
                  <a:lnTo>
                    <a:pt x="83" y="0"/>
                  </a:lnTo>
                  <a:cubicBezTo>
                    <a:pt x="17" y="67"/>
                    <a:pt x="0" y="173"/>
                    <a:pt x="50" y="259"/>
                  </a:cubicBezTo>
                  <a:close/>
                  <a:moveTo>
                    <a:pt x="92" y="112"/>
                  </a:moveTo>
                  <a:cubicBezTo>
                    <a:pt x="102" y="74"/>
                    <a:pt x="127" y="41"/>
                    <a:pt x="162" y="21"/>
                  </a:cubicBezTo>
                  <a:cubicBezTo>
                    <a:pt x="185" y="8"/>
                    <a:pt x="211" y="1"/>
                    <a:pt x="237" y="1"/>
                  </a:cubicBezTo>
                  <a:lnTo>
                    <a:pt x="237" y="1"/>
                  </a:lnTo>
                  <a:cubicBezTo>
                    <a:pt x="291" y="1"/>
                    <a:pt x="341" y="30"/>
                    <a:pt x="368" y="76"/>
                  </a:cubicBezTo>
                  <a:cubicBezTo>
                    <a:pt x="409" y="148"/>
                    <a:pt x="384" y="240"/>
                    <a:pt x="312" y="282"/>
                  </a:cubicBezTo>
                  <a:cubicBezTo>
                    <a:pt x="290" y="295"/>
                    <a:pt x="264" y="302"/>
                    <a:pt x="237" y="302"/>
                  </a:cubicBezTo>
                  <a:cubicBezTo>
                    <a:pt x="184" y="302"/>
                    <a:pt x="134" y="273"/>
                    <a:pt x="107" y="227"/>
                  </a:cubicBezTo>
                  <a:cubicBezTo>
                    <a:pt x="87" y="192"/>
                    <a:pt x="81" y="151"/>
                    <a:pt x="92" y="112"/>
                  </a:cubicBezTo>
                  <a:close/>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6" name="Freeform 107">
              <a:extLst>
                <a:ext uri="{FF2B5EF4-FFF2-40B4-BE49-F238E27FC236}">
                  <a16:creationId xmlns:a16="http://schemas.microsoft.com/office/drawing/2014/main" id="{2B1951AD-36C4-0241-9C80-3DE67D15C6DE}"/>
                </a:ext>
              </a:extLst>
            </p:cNvPr>
            <p:cNvSpPr>
              <a:spLocks noChangeArrowheads="1"/>
            </p:cNvSpPr>
            <p:nvPr/>
          </p:nvSpPr>
          <p:spPr bwMode="auto">
            <a:xfrm>
              <a:off x="6022975" y="5699125"/>
              <a:ext cx="323850" cy="138113"/>
            </a:xfrm>
            <a:custGeom>
              <a:avLst/>
              <a:gdLst>
                <a:gd name="T0" fmla="*/ 852 w 898"/>
                <a:gd name="T1" fmla="*/ 139 h 382"/>
                <a:gd name="T2" fmla="*/ 557 w 898"/>
                <a:gd name="T3" fmla="*/ 60 h 382"/>
                <a:gd name="T4" fmla="*/ 0 w 898"/>
                <a:gd name="T5" fmla="*/ 381 h 382"/>
                <a:gd name="T6" fmla="*/ 834 w 898"/>
                <a:gd name="T7" fmla="*/ 381 h 382"/>
                <a:gd name="T8" fmla="*/ 852 w 898"/>
                <a:gd name="T9" fmla="*/ 139 h 382"/>
              </a:gdLst>
              <a:ahLst/>
              <a:cxnLst>
                <a:cxn ang="0">
                  <a:pos x="T0" y="T1"/>
                </a:cxn>
                <a:cxn ang="0">
                  <a:pos x="T2" y="T3"/>
                </a:cxn>
                <a:cxn ang="0">
                  <a:pos x="T4" y="T5"/>
                </a:cxn>
                <a:cxn ang="0">
                  <a:pos x="T6" y="T7"/>
                </a:cxn>
                <a:cxn ang="0">
                  <a:pos x="T8" y="T9"/>
                </a:cxn>
              </a:cxnLst>
              <a:rect l="0" t="0" r="r" b="b"/>
              <a:pathLst>
                <a:path w="898" h="382">
                  <a:moveTo>
                    <a:pt x="852" y="139"/>
                  </a:moveTo>
                  <a:cubicBezTo>
                    <a:pt x="792" y="35"/>
                    <a:pt x="660" y="0"/>
                    <a:pt x="557" y="60"/>
                  </a:cubicBezTo>
                  <a:lnTo>
                    <a:pt x="0" y="381"/>
                  </a:lnTo>
                  <a:lnTo>
                    <a:pt x="834" y="381"/>
                  </a:lnTo>
                  <a:cubicBezTo>
                    <a:pt x="887" y="314"/>
                    <a:pt x="897" y="218"/>
                    <a:pt x="852" y="139"/>
                  </a:cubicBezTo>
                </a:path>
              </a:pathLst>
            </a:custGeom>
            <a:solidFill>
              <a:schemeClr val="accent3">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7" name="Freeform 108">
              <a:extLst>
                <a:ext uri="{FF2B5EF4-FFF2-40B4-BE49-F238E27FC236}">
                  <a16:creationId xmlns:a16="http://schemas.microsoft.com/office/drawing/2014/main" id="{3AD11626-F4FD-714D-A17C-1DB0EDB49980}"/>
                </a:ext>
              </a:extLst>
            </p:cNvPr>
            <p:cNvSpPr>
              <a:spLocks noChangeArrowheads="1"/>
            </p:cNvSpPr>
            <p:nvPr/>
          </p:nvSpPr>
          <p:spPr bwMode="auto">
            <a:xfrm>
              <a:off x="6457950" y="5545138"/>
              <a:ext cx="93663" cy="157162"/>
            </a:xfrm>
            <a:custGeom>
              <a:avLst/>
              <a:gdLst>
                <a:gd name="T0" fmla="*/ 139 w 258"/>
                <a:gd name="T1" fmla="*/ 31 h 438"/>
                <a:gd name="T2" fmla="*/ 60 w 258"/>
                <a:gd name="T3" fmla="*/ 326 h 438"/>
                <a:gd name="T4" fmla="*/ 257 w 258"/>
                <a:gd name="T5" fmla="*/ 433 h 438"/>
                <a:gd name="T6" fmla="*/ 257 w 258"/>
                <a:gd name="T7" fmla="*/ 2 h 438"/>
                <a:gd name="T8" fmla="*/ 139 w 258"/>
                <a:gd name="T9" fmla="*/ 31 h 438"/>
              </a:gdLst>
              <a:ahLst/>
              <a:cxnLst>
                <a:cxn ang="0">
                  <a:pos x="T0" y="T1"/>
                </a:cxn>
                <a:cxn ang="0">
                  <a:pos x="T2" y="T3"/>
                </a:cxn>
                <a:cxn ang="0">
                  <a:pos x="T4" y="T5"/>
                </a:cxn>
                <a:cxn ang="0">
                  <a:pos x="T6" y="T7"/>
                </a:cxn>
                <a:cxn ang="0">
                  <a:pos x="T8" y="T9"/>
                </a:cxn>
              </a:cxnLst>
              <a:rect l="0" t="0" r="r" b="b"/>
              <a:pathLst>
                <a:path w="258" h="438">
                  <a:moveTo>
                    <a:pt x="139" y="31"/>
                  </a:moveTo>
                  <a:cubicBezTo>
                    <a:pt x="36" y="90"/>
                    <a:pt x="0" y="222"/>
                    <a:pt x="60" y="326"/>
                  </a:cubicBezTo>
                  <a:cubicBezTo>
                    <a:pt x="102" y="398"/>
                    <a:pt x="179" y="437"/>
                    <a:pt x="257" y="433"/>
                  </a:cubicBezTo>
                  <a:lnTo>
                    <a:pt x="257" y="2"/>
                  </a:lnTo>
                  <a:cubicBezTo>
                    <a:pt x="217" y="0"/>
                    <a:pt x="176" y="9"/>
                    <a:pt x="139" y="31"/>
                  </a:cubicBezTo>
                </a:path>
              </a:pathLst>
            </a:custGeom>
            <a:solidFill>
              <a:schemeClr val="accent3">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150387513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Agenda v1">
    <p:spTree>
      <p:nvGrpSpPr>
        <p:cNvPr id="1" name=""/>
        <p:cNvGrpSpPr/>
        <p:nvPr/>
      </p:nvGrpSpPr>
      <p:grpSpPr>
        <a:xfrm>
          <a:off x="0" y="0"/>
          <a:ext cx="0" cy="0"/>
          <a:chOff x="0" y="0"/>
          <a:chExt cx="0" cy="0"/>
        </a:xfrm>
      </p:grpSpPr>
      <p:sp>
        <p:nvSpPr>
          <p:cNvPr id="16" name="Freeform 127">
            <a:extLst>
              <a:ext uri="{FF2B5EF4-FFF2-40B4-BE49-F238E27FC236}">
                <a16:creationId xmlns:a16="http://schemas.microsoft.com/office/drawing/2014/main" id="{C30CF553-4435-A949-9D05-0E89D1A184DB}"/>
              </a:ext>
            </a:extLst>
          </p:cNvPr>
          <p:cNvSpPr>
            <a:spLocks noChangeArrowheads="1"/>
          </p:cNvSpPr>
          <p:nvPr userDrawn="1"/>
        </p:nvSpPr>
        <p:spPr bwMode="auto">
          <a:xfrm>
            <a:off x="5250952" y="-14297"/>
            <a:ext cx="6980147" cy="6476144"/>
          </a:xfrm>
          <a:custGeom>
            <a:avLst/>
            <a:gdLst>
              <a:gd name="T0" fmla="*/ 60 w 522"/>
              <a:gd name="T1" fmla="*/ 516 h 655"/>
              <a:gd name="T2" fmla="*/ 355 w 522"/>
              <a:gd name="T3" fmla="*/ 595 h 655"/>
              <a:gd name="T4" fmla="*/ 521 w 522"/>
              <a:gd name="T5" fmla="*/ 499 h 655"/>
              <a:gd name="T6" fmla="*/ 521 w 522"/>
              <a:gd name="T7" fmla="*/ 0 h 655"/>
              <a:gd name="T8" fmla="*/ 139 w 522"/>
              <a:gd name="T9" fmla="*/ 221 h 655"/>
              <a:gd name="T10" fmla="*/ 60 w 522"/>
              <a:gd name="T11" fmla="*/ 516 h 655"/>
              <a:gd name="connsiteX0" fmla="*/ 557 w 9389"/>
              <a:gd name="connsiteY0" fmla="*/ 7878 h 9521"/>
              <a:gd name="connsiteX1" fmla="*/ 6209 w 9389"/>
              <a:gd name="connsiteY1" fmla="*/ 9084 h 9521"/>
              <a:gd name="connsiteX2" fmla="*/ 8706 w 9389"/>
              <a:gd name="connsiteY2" fmla="*/ 7936 h 9521"/>
              <a:gd name="connsiteX3" fmla="*/ 9389 w 9389"/>
              <a:gd name="connsiteY3" fmla="*/ 0 h 9521"/>
              <a:gd name="connsiteX4" fmla="*/ 2071 w 9389"/>
              <a:gd name="connsiteY4" fmla="*/ 3374 h 9521"/>
              <a:gd name="connsiteX5" fmla="*/ 557 w 9389"/>
              <a:gd name="connsiteY5" fmla="*/ 7878 h 9521"/>
              <a:gd name="connsiteX0" fmla="*/ 485 w 9892"/>
              <a:gd name="connsiteY0" fmla="*/ 8274 h 9999"/>
              <a:gd name="connsiteX1" fmla="*/ 6505 w 9892"/>
              <a:gd name="connsiteY1" fmla="*/ 9541 h 9999"/>
              <a:gd name="connsiteX2" fmla="*/ 9165 w 9892"/>
              <a:gd name="connsiteY2" fmla="*/ 8335 h 9999"/>
              <a:gd name="connsiteX3" fmla="*/ 9892 w 9892"/>
              <a:gd name="connsiteY3" fmla="*/ 0 h 9999"/>
              <a:gd name="connsiteX4" fmla="*/ 2602 w 9892"/>
              <a:gd name="connsiteY4" fmla="*/ 3337 h 9999"/>
              <a:gd name="connsiteX5" fmla="*/ 485 w 9892"/>
              <a:gd name="connsiteY5" fmla="*/ 8274 h 9999"/>
              <a:gd name="connsiteX0" fmla="*/ 640 w 10150"/>
              <a:gd name="connsiteY0" fmla="*/ 8275 h 10000"/>
              <a:gd name="connsiteX1" fmla="*/ 6726 w 10150"/>
              <a:gd name="connsiteY1" fmla="*/ 9542 h 10000"/>
              <a:gd name="connsiteX2" fmla="*/ 9415 w 10150"/>
              <a:gd name="connsiteY2" fmla="*/ 8336 h 10000"/>
              <a:gd name="connsiteX3" fmla="*/ 10150 w 10150"/>
              <a:gd name="connsiteY3" fmla="*/ 0 h 10000"/>
              <a:gd name="connsiteX4" fmla="*/ 2780 w 10150"/>
              <a:gd name="connsiteY4" fmla="*/ 3337 h 10000"/>
              <a:gd name="connsiteX5" fmla="*/ 640 w 10150"/>
              <a:gd name="connsiteY5" fmla="*/ 8275 h 10000"/>
              <a:gd name="connsiteX0" fmla="*/ 640 w 9483"/>
              <a:gd name="connsiteY0" fmla="*/ 5023 h 6748"/>
              <a:gd name="connsiteX1" fmla="*/ 6726 w 9483"/>
              <a:gd name="connsiteY1" fmla="*/ 6290 h 6748"/>
              <a:gd name="connsiteX2" fmla="*/ 9415 w 9483"/>
              <a:gd name="connsiteY2" fmla="*/ 5084 h 6748"/>
              <a:gd name="connsiteX3" fmla="*/ 9399 w 9483"/>
              <a:gd name="connsiteY3" fmla="*/ 0 h 6748"/>
              <a:gd name="connsiteX4" fmla="*/ 2780 w 9483"/>
              <a:gd name="connsiteY4" fmla="*/ 85 h 6748"/>
              <a:gd name="connsiteX5" fmla="*/ 640 w 9483"/>
              <a:gd name="connsiteY5" fmla="*/ 5023 h 6748"/>
              <a:gd name="connsiteX0" fmla="*/ 675 w 10018"/>
              <a:gd name="connsiteY0" fmla="*/ 7444 h 10001"/>
              <a:gd name="connsiteX1" fmla="*/ 7093 w 10018"/>
              <a:gd name="connsiteY1" fmla="*/ 9321 h 10001"/>
              <a:gd name="connsiteX2" fmla="*/ 9928 w 10018"/>
              <a:gd name="connsiteY2" fmla="*/ 7534 h 10001"/>
              <a:gd name="connsiteX3" fmla="*/ 9911 w 10018"/>
              <a:gd name="connsiteY3" fmla="*/ 0 h 10001"/>
              <a:gd name="connsiteX4" fmla="*/ 2932 w 10018"/>
              <a:gd name="connsiteY4" fmla="*/ 126 h 10001"/>
              <a:gd name="connsiteX5" fmla="*/ 675 w 10018"/>
              <a:gd name="connsiteY5" fmla="*/ 7444 h 10001"/>
              <a:gd name="connsiteX0" fmla="*/ 675 w 9928"/>
              <a:gd name="connsiteY0" fmla="*/ 7444 h 10001"/>
              <a:gd name="connsiteX1" fmla="*/ 7093 w 9928"/>
              <a:gd name="connsiteY1" fmla="*/ 9321 h 10001"/>
              <a:gd name="connsiteX2" fmla="*/ 9928 w 9928"/>
              <a:gd name="connsiteY2" fmla="*/ 7534 h 10001"/>
              <a:gd name="connsiteX3" fmla="*/ 9911 w 9928"/>
              <a:gd name="connsiteY3" fmla="*/ 0 h 10001"/>
              <a:gd name="connsiteX4" fmla="*/ 2932 w 9928"/>
              <a:gd name="connsiteY4" fmla="*/ 126 h 10001"/>
              <a:gd name="connsiteX5" fmla="*/ 675 w 9928"/>
              <a:gd name="connsiteY5" fmla="*/ 7444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28" h="10001">
                <a:moveTo>
                  <a:pt x="675" y="7444"/>
                </a:moveTo>
                <a:cubicBezTo>
                  <a:pt x="1981" y="9890"/>
                  <a:pt x="4853" y="10723"/>
                  <a:pt x="7093" y="9321"/>
                </a:cubicBezTo>
                <a:lnTo>
                  <a:pt x="9928" y="7534"/>
                </a:lnTo>
                <a:cubicBezTo>
                  <a:pt x="9933" y="3264"/>
                  <a:pt x="9793" y="4117"/>
                  <a:pt x="9911" y="0"/>
                </a:cubicBezTo>
                <a:lnTo>
                  <a:pt x="2932" y="126"/>
                </a:lnTo>
                <a:cubicBezTo>
                  <a:pt x="-130" y="1989"/>
                  <a:pt x="-630" y="4972"/>
                  <a:pt x="675" y="7444"/>
                </a:cubicBezTo>
              </a:path>
            </a:pathLst>
          </a:custGeom>
          <a:solidFill>
            <a:schemeClr val="bg2">
              <a:alpha val="40000"/>
            </a:schemeClr>
          </a:solidFill>
          <a:ln>
            <a:noFill/>
          </a:ln>
          <a:effectLst/>
        </p:spPr>
        <p:txBody>
          <a:bodyPr wrap="none" anchor="ctr"/>
          <a:lstStyle/>
          <a:p>
            <a:endParaRPr dirty="0"/>
          </a:p>
        </p:txBody>
      </p:sp>
      <p:grpSp>
        <p:nvGrpSpPr>
          <p:cNvPr id="10" name="Group 9">
            <a:extLst>
              <a:ext uri="{FF2B5EF4-FFF2-40B4-BE49-F238E27FC236}">
                <a16:creationId xmlns:a16="http://schemas.microsoft.com/office/drawing/2014/main" id="{FCF82B9C-2319-F141-96E1-C47C5BC87167}"/>
              </a:ext>
            </a:extLst>
          </p:cNvPr>
          <p:cNvGrpSpPr/>
          <p:nvPr userDrawn="1"/>
        </p:nvGrpSpPr>
        <p:grpSpPr>
          <a:xfrm>
            <a:off x="-8459" y="1375617"/>
            <a:ext cx="12192001" cy="5007656"/>
            <a:chOff x="1260475" y="7056192"/>
            <a:chExt cx="1028700" cy="422521"/>
          </a:xfrm>
        </p:grpSpPr>
        <p:sp>
          <p:nvSpPr>
            <p:cNvPr id="11" name="Freeform 121">
              <a:extLst>
                <a:ext uri="{FF2B5EF4-FFF2-40B4-BE49-F238E27FC236}">
                  <a16:creationId xmlns:a16="http://schemas.microsoft.com/office/drawing/2014/main" id="{C4F072E7-51A1-F446-9988-71B74B9D0EA0}"/>
                </a:ext>
              </a:extLst>
            </p:cNvPr>
            <p:cNvSpPr>
              <a:spLocks noChangeArrowheads="1"/>
            </p:cNvSpPr>
            <p:nvPr/>
          </p:nvSpPr>
          <p:spPr bwMode="auto">
            <a:xfrm>
              <a:off x="1608138" y="7146925"/>
              <a:ext cx="38100" cy="61913"/>
            </a:xfrm>
            <a:custGeom>
              <a:avLst/>
              <a:gdLst>
                <a:gd name="T0" fmla="*/ 99 w 107"/>
                <a:gd name="T1" fmla="*/ 171 h 172"/>
                <a:gd name="T2" fmla="*/ 82 w 107"/>
                <a:gd name="T3" fmla="*/ 67 h 172"/>
                <a:gd name="T4" fmla="*/ 0 w 107"/>
                <a:gd name="T5" fmla="*/ 0 h 172"/>
                <a:gd name="T6" fmla="*/ 29 w 107"/>
                <a:gd name="T7" fmla="*/ 98 h 172"/>
                <a:gd name="T8" fmla="*/ 99 w 107"/>
                <a:gd name="T9" fmla="*/ 171 h 172"/>
              </a:gdLst>
              <a:ahLst/>
              <a:cxnLst>
                <a:cxn ang="0">
                  <a:pos x="T0" y="T1"/>
                </a:cxn>
                <a:cxn ang="0">
                  <a:pos x="T2" y="T3"/>
                </a:cxn>
                <a:cxn ang="0">
                  <a:pos x="T4" y="T5"/>
                </a:cxn>
                <a:cxn ang="0">
                  <a:pos x="T6" y="T7"/>
                </a:cxn>
                <a:cxn ang="0">
                  <a:pos x="T8" y="T9"/>
                </a:cxn>
              </a:cxnLst>
              <a:rect l="0" t="0" r="r" b="b"/>
              <a:pathLst>
                <a:path w="107" h="172">
                  <a:moveTo>
                    <a:pt x="99" y="171"/>
                  </a:moveTo>
                  <a:cubicBezTo>
                    <a:pt x="106" y="137"/>
                    <a:pt x="101" y="100"/>
                    <a:pt x="82" y="67"/>
                  </a:cubicBezTo>
                  <a:cubicBezTo>
                    <a:pt x="63" y="35"/>
                    <a:pt x="34" y="12"/>
                    <a:pt x="0" y="0"/>
                  </a:cubicBezTo>
                  <a:cubicBezTo>
                    <a:pt x="2" y="33"/>
                    <a:pt x="11" y="67"/>
                    <a:pt x="29" y="98"/>
                  </a:cubicBezTo>
                  <a:cubicBezTo>
                    <a:pt x="47" y="129"/>
                    <a:pt x="71" y="153"/>
                    <a:pt x="99" y="171"/>
                  </a:cubicBezTo>
                </a:path>
              </a:pathLst>
            </a:custGeom>
            <a:solidFill>
              <a:schemeClr val="accent3">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2" name="Freeform 122">
              <a:extLst>
                <a:ext uri="{FF2B5EF4-FFF2-40B4-BE49-F238E27FC236}">
                  <a16:creationId xmlns:a16="http://schemas.microsoft.com/office/drawing/2014/main" id="{F5711691-1BF0-F146-B13B-911424A3127C}"/>
                </a:ext>
              </a:extLst>
            </p:cNvPr>
            <p:cNvSpPr>
              <a:spLocks noChangeArrowheads="1"/>
            </p:cNvSpPr>
            <p:nvPr/>
          </p:nvSpPr>
          <p:spPr bwMode="auto">
            <a:xfrm>
              <a:off x="1608383" y="7056192"/>
              <a:ext cx="165100" cy="169863"/>
            </a:xfrm>
            <a:custGeom>
              <a:avLst/>
              <a:gdLst>
                <a:gd name="T0" fmla="*/ 101 w 457"/>
                <a:gd name="T1" fmla="*/ 60 h 471"/>
                <a:gd name="T2" fmla="*/ 0 w 457"/>
                <a:gd name="T3" fmla="*/ 191 h 471"/>
                <a:gd name="T4" fmla="*/ 131 w 457"/>
                <a:gd name="T5" fmla="*/ 292 h 471"/>
                <a:gd name="T6" fmla="*/ 153 w 457"/>
                <a:gd name="T7" fmla="*/ 455 h 471"/>
                <a:gd name="T8" fmla="*/ 317 w 457"/>
                <a:gd name="T9" fmla="*/ 434 h 471"/>
                <a:gd name="T10" fmla="*/ 396 w 457"/>
                <a:gd name="T11" fmla="*/ 139 h 471"/>
                <a:gd name="T12" fmla="*/ 101 w 457"/>
                <a:gd name="T13" fmla="*/ 60 h 471"/>
              </a:gdLst>
              <a:ahLst/>
              <a:cxnLst>
                <a:cxn ang="0">
                  <a:pos x="T0" y="T1"/>
                </a:cxn>
                <a:cxn ang="0">
                  <a:pos x="T2" y="T3"/>
                </a:cxn>
                <a:cxn ang="0">
                  <a:pos x="T4" y="T5"/>
                </a:cxn>
                <a:cxn ang="0">
                  <a:pos x="T6" y="T7"/>
                </a:cxn>
                <a:cxn ang="0">
                  <a:pos x="T8" y="T9"/>
                </a:cxn>
                <a:cxn ang="0">
                  <a:pos x="T10" y="T11"/>
                </a:cxn>
                <a:cxn ang="0">
                  <a:pos x="T12" y="T13"/>
                </a:cxn>
              </a:cxnLst>
              <a:rect l="0" t="0" r="r" b="b"/>
              <a:pathLst>
                <a:path w="457" h="471">
                  <a:moveTo>
                    <a:pt x="101" y="60"/>
                  </a:moveTo>
                  <a:cubicBezTo>
                    <a:pt x="49" y="90"/>
                    <a:pt x="15" y="138"/>
                    <a:pt x="0" y="191"/>
                  </a:cubicBezTo>
                  <a:cubicBezTo>
                    <a:pt x="54" y="205"/>
                    <a:pt x="101" y="241"/>
                    <a:pt x="131" y="292"/>
                  </a:cubicBezTo>
                  <a:cubicBezTo>
                    <a:pt x="160" y="344"/>
                    <a:pt x="167" y="402"/>
                    <a:pt x="153" y="455"/>
                  </a:cubicBezTo>
                  <a:cubicBezTo>
                    <a:pt x="206" y="470"/>
                    <a:pt x="265" y="464"/>
                    <a:pt x="317" y="434"/>
                  </a:cubicBezTo>
                  <a:cubicBezTo>
                    <a:pt x="420" y="374"/>
                    <a:pt x="456" y="242"/>
                    <a:pt x="396" y="139"/>
                  </a:cubicBezTo>
                  <a:cubicBezTo>
                    <a:pt x="336" y="36"/>
                    <a:pt x="204" y="0"/>
                    <a:pt x="101" y="60"/>
                  </a:cubicBezTo>
                </a:path>
              </a:pathLst>
            </a:custGeom>
            <a:solidFill>
              <a:schemeClr val="accent3">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123">
              <a:extLst>
                <a:ext uri="{FF2B5EF4-FFF2-40B4-BE49-F238E27FC236}">
                  <a16:creationId xmlns:a16="http://schemas.microsoft.com/office/drawing/2014/main" id="{9B517A3B-D8C5-404B-9F1A-1A273467C6FA}"/>
                </a:ext>
              </a:extLst>
            </p:cNvPr>
            <p:cNvSpPr>
              <a:spLocks noChangeArrowheads="1"/>
            </p:cNvSpPr>
            <p:nvPr/>
          </p:nvSpPr>
          <p:spPr bwMode="auto">
            <a:xfrm>
              <a:off x="1260475" y="7219950"/>
              <a:ext cx="228600" cy="258763"/>
            </a:xfrm>
            <a:custGeom>
              <a:avLst/>
              <a:gdLst>
                <a:gd name="T0" fmla="*/ 572 w 633"/>
                <a:gd name="T1" fmla="*/ 139 h 719"/>
                <a:gd name="T2" fmla="*/ 277 w 633"/>
                <a:gd name="T3" fmla="*/ 60 h 719"/>
                <a:gd name="T4" fmla="*/ 0 w 633"/>
                <a:gd name="T5" fmla="*/ 219 h 719"/>
                <a:gd name="T6" fmla="*/ 0 w 633"/>
                <a:gd name="T7" fmla="*/ 718 h 719"/>
                <a:gd name="T8" fmla="*/ 493 w 633"/>
                <a:gd name="T9" fmla="*/ 434 h 719"/>
                <a:gd name="T10" fmla="*/ 572 w 633"/>
                <a:gd name="T11" fmla="*/ 139 h 719"/>
              </a:gdLst>
              <a:ahLst/>
              <a:cxnLst>
                <a:cxn ang="0">
                  <a:pos x="T0" y="T1"/>
                </a:cxn>
                <a:cxn ang="0">
                  <a:pos x="T2" y="T3"/>
                </a:cxn>
                <a:cxn ang="0">
                  <a:pos x="T4" y="T5"/>
                </a:cxn>
                <a:cxn ang="0">
                  <a:pos x="T6" y="T7"/>
                </a:cxn>
                <a:cxn ang="0">
                  <a:pos x="T8" y="T9"/>
                </a:cxn>
                <a:cxn ang="0">
                  <a:pos x="T10" y="T11"/>
                </a:cxn>
              </a:cxnLst>
              <a:rect l="0" t="0" r="r" b="b"/>
              <a:pathLst>
                <a:path w="633" h="719">
                  <a:moveTo>
                    <a:pt x="572" y="139"/>
                  </a:moveTo>
                  <a:cubicBezTo>
                    <a:pt x="512" y="35"/>
                    <a:pt x="380" y="0"/>
                    <a:pt x="277" y="60"/>
                  </a:cubicBezTo>
                  <a:lnTo>
                    <a:pt x="0" y="219"/>
                  </a:lnTo>
                  <a:lnTo>
                    <a:pt x="0" y="718"/>
                  </a:lnTo>
                  <a:lnTo>
                    <a:pt x="493" y="434"/>
                  </a:lnTo>
                  <a:cubicBezTo>
                    <a:pt x="596" y="374"/>
                    <a:pt x="632" y="242"/>
                    <a:pt x="572" y="139"/>
                  </a:cubicBezTo>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4" name="Freeform 124">
              <a:extLst>
                <a:ext uri="{FF2B5EF4-FFF2-40B4-BE49-F238E27FC236}">
                  <a16:creationId xmlns:a16="http://schemas.microsoft.com/office/drawing/2014/main" id="{331E695C-2C60-EC48-8B5C-9C5D74969819}"/>
                </a:ext>
              </a:extLst>
            </p:cNvPr>
            <p:cNvSpPr>
              <a:spLocks noChangeArrowheads="1"/>
            </p:cNvSpPr>
            <p:nvPr/>
          </p:nvSpPr>
          <p:spPr bwMode="auto">
            <a:xfrm>
              <a:off x="1501775" y="7121525"/>
              <a:ext cx="163513" cy="155575"/>
            </a:xfrm>
            <a:custGeom>
              <a:avLst/>
              <a:gdLst>
                <a:gd name="T0" fmla="*/ 322 w 456"/>
                <a:gd name="T1" fmla="*/ 346 h 432"/>
                <a:gd name="T2" fmla="*/ 247 w 456"/>
                <a:gd name="T3" fmla="*/ 366 h 432"/>
                <a:gd name="T4" fmla="*/ 116 w 456"/>
                <a:gd name="T5" fmla="*/ 291 h 432"/>
                <a:gd name="T6" fmla="*/ 101 w 456"/>
                <a:gd name="T7" fmla="*/ 177 h 432"/>
                <a:gd name="T8" fmla="*/ 171 w 456"/>
                <a:gd name="T9" fmla="*/ 85 h 432"/>
                <a:gd name="T10" fmla="*/ 246 w 456"/>
                <a:gd name="T11" fmla="*/ 65 h 432"/>
                <a:gd name="T12" fmla="*/ 246 w 456"/>
                <a:gd name="T13" fmla="*/ 65 h 432"/>
                <a:gd name="T14" fmla="*/ 295 w 456"/>
                <a:gd name="T15" fmla="*/ 73 h 432"/>
                <a:gd name="T16" fmla="*/ 302 w 456"/>
                <a:gd name="T17" fmla="*/ 7 h 432"/>
                <a:gd name="T18" fmla="*/ 246 w 456"/>
                <a:gd name="T19" fmla="*/ 0 h 432"/>
                <a:gd name="T20" fmla="*/ 139 w 456"/>
                <a:gd name="T21" fmla="*/ 29 h 432"/>
                <a:gd name="T22" fmla="*/ 59 w 456"/>
                <a:gd name="T23" fmla="*/ 323 h 432"/>
                <a:gd name="T24" fmla="*/ 247 w 456"/>
                <a:gd name="T25" fmla="*/ 431 h 432"/>
                <a:gd name="T26" fmla="*/ 354 w 456"/>
                <a:gd name="T27" fmla="*/ 403 h 432"/>
                <a:gd name="T28" fmla="*/ 455 w 456"/>
                <a:gd name="T29" fmla="*/ 271 h 432"/>
                <a:gd name="T30" fmla="*/ 394 w 456"/>
                <a:gd name="T31" fmla="*/ 244 h 432"/>
                <a:gd name="T32" fmla="*/ 322 w 456"/>
                <a:gd name="T33" fmla="*/ 346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6" h="432">
                  <a:moveTo>
                    <a:pt x="322" y="346"/>
                  </a:moveTo>
                  <a:cubicBezTo>
                    <a:pt x="299" y="359"/>
                    <a:pt x="273" y="366"/>
                    <a:pt x="247" y="366"/>
                  </a:cubicBezTo>
                  <a:cubicBezTo>
                    <a:pt x="193" y="366"/>
                    <a:pt x="143" y="337"/>
                    <a:pt x="116" y="291"/>
                  </a:cubicBezTo>
                  <a:cubicBezTo>
                    <a:pt x="96" y="256"/>
                    <a:pt x="91" y="216"/>
                    <a:pt x="101" y="177"/>
                  </a:cubicBezTo>
                  <a:cubicBezTo>
                    <a:pt x="111" y="139"/>
                    <a:pt x="136" y="105"/>
                    <a:pt x="171" y="85"/>
                  </a:cubicBezTo>
                  <a:cubicBezTo>
                    <a:pt x="194" y="72"/>
                    <a:pt x="220" y="65"/>
                    <a:pt x="246" y="65"/>
                  </a:cubicBezTo>
                  <a:lnTo>
                    <a:pt x="246" y="65"/>
                  </a:lnTo>
                  <a:cubicBezTo>
                    <a:pt x="263" y="65"/>
                    <a:pt x="280" y="68"/>
                    <a:pt x="295" y="73"/>
                  </a:cubicBezTo>
                  <a:cubicBezTo>
                    <a:pt x="294" y="51"/>
                    <a:pt x="297" y="28"/>
                    <a:pt x="302" y="7"/>
                  </a:cubicBezTo>
                  <a:cubicBezTo>
                    <a:pt x="284" y="2"/>
                    <a:pt x="265" y="0"/>
                    <a:pt x="246" y="0"/>
                  </a:cubicBezTo>
                  <a:cubicBezTo>
                    <a:pt x="210" y="0"/>
                    <a:pt x="173" y="9"/>
                    <a:pt x="139" y="29"/>
                  </a:cubicBezTo>
                  <a:cubicBezTo>
                    <a:pt x="35" y="88"/>
                    <a:pt x="0" y="220"/>
                    <a:pt x="59" y="323"/>
                  </a:cubicBezTo>
                  <a:cubicBezTo>
                    <a:pt x="99" y="393"/>
                    <a:pt x="172" y="431"/>
                    <a:pt x="247" y="431"/>
                  </a:cubicBezTo>
                  <a:cubicBezTo>
                    <a:pt x="283" y="431"/>
                    <a:pt x="320" y="422"/>
                    <a:pt x="354" y="403"/>
                  </a:cubicBezTo>
                  <a:cubicBezTo>
                    <a:pt x="406" y="373"/>
                    <a:pt x="441" y="325"/>
                    <a:pt x="455" y="271"/>
                  </a:cubicBezTo>
                  <a:cubicBezTo>
                    <a:pt x="434" y="266"/>
                    <a:pt x="413" y="257"/>
                    <a:pt x="394" y="244"/>
                  </a:cubicBezTo>
                  <a:cubicBezTo>
                    <a:pt x="386" y="286"/>
                    <a:pt x="361" y="323"/>
                    <a:pt x="322" y="346"/>
                  </a:cubicBezTo>
                </a:path>
              </a:pathLst>
            </a:custGeom>
            <a:solidFill>
              <a:schemeClr val="accent3">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5" name="Freeform 125">
              <a:extLst>
                <a:ext uri="{FF2B5EF4-FFF2-40B4-BE49-F238E27FC236}">
                  <a16:creationId xmlns:a16="http://schemas.microsoft.com/office/drawing/2014/main" id="{97FE1716-863B-D74A-8918-D0331DCC68CE}"/>
                </a:ext>
              </a:extLst>
            </p:cNvPr>
            <p:cNvSpPr>
              <a:spLocks noChangeArrowheads="1"/>
            </p:cNvSpPr>
            <p:nvPr/>
          </p:nvSpPr>
          <p:spPr bwMode="auto">
            <a:xfrm>
              <a:off x="1606550" y="7124455"/>
              <a:ext cx="63500" cy="95250"/>
            </a:xfrm>
            <a:custGeom>
              <a:avLst/>
              <a:gdLst>
                <a:gd name="T0" fmla="*/ 139 w 176"/>
                <a:gd name="T1" fmla="*/ 101 h 265"/>
                <a:gd name="T2" fmla="*/ 8 w 176"/>
                <a:gd name="T3" fmla="*/ 0 h 265"/>
                <a:gd name="T4" fmla="*/ 1 w 176"/>
                <a:gd name="T5" fmla="*/ 66 h 265"/>
                <a:gd name="T6" fmla="*/ 83 w 176"/>
                <a:gd name="T7" fmla="*/ 133 h 265"/>
                <a:gd name="T8" fmla="*/ 100 w 176"/>
                <a:gd name="T9" fmla="*/ 237 h 265"/>
                <a:gd name="T10" fmla="*/ 161 w 176"/>
                <a:gd name="T11" fmla="*/ 264 h 265"/>
                <a:gd name="T12" fmla="*/ 139 w 176"/>
                <a:gd name="T13" fmla="*/ 101 h 265"/>
              </a:gdLst>
              <a:ahLst/>
              <a:cxnLst>
                <a:cxn ang="0">
                  <a:pos x="T0" y="T1"/>
                </a:cxn>
                <a:cxn ang="0">
                  <a:pos x="T2" y="T3"/>
                </a:cxn>
                <a:cxn ang="0">
                  <a:pos x="T4" y="T5"/>
                </a:cxn>
                <a:cxn ang="0">
                  <a:pos x="T6" y="T7"/>
                </a:cxn>
                <a:cxn ang="0">
                  <a:pos x="T8" y="T9"/>
                </a:cxn>
                <a:cxn ang="0">
                  <a:pos x="T10" y="T11"/>
                </a:cxn>
                <a:cxn ang="0">
                  <a:pos x="T12" y="T13"/>
                </a:cxn>
              </a:cxnLst>
              <a:rect l="0" t="0" r="r" b="b"/>
              <a:pathLst>
                <a:path w="176" h="265">
                  <a:moveTo>
                    <a:pt x="139" y="101"/>
                  </a:moveTo>
                  <a:cubicBezTo>
                    <a:pt x="110" y="49"/>
                    <a:pt x="62" y="14"/>
                    <a:pt x="8" y="0"/>
                  </a:cubicBezTo>
                  <a:cubicBezTo>
                    <a:pt x="3" y="21"/>
                    <a:pt x="0" y="44"/>
                    <a:pt x="1" y="66"/>
                  </a:cubicBezTo>
                  <a:cubicBezTo>
                    <a:pt x="35" y="78"/>
                    <a:pt x="65" y="101"/>
                    <a:pt x="83" y="133"/>
                  </a:cubicBezTo>
                  <a:cubicBezTo>
                    <a:pt x="102" y="166"/>
                    <a:pt x="107" y="203"/>
                    <a:pt x="100" y="237"/>
                  </a:cubicBezTo>
                  <a:cubicBezTo>
                    <a:pt x="119" y="250"/>
                    <a:pt x="140" y="259"/>
                    <a:pt x="161" y="264"/>
                  </a:cubicBezTo>
                  <a:cubicBezTo>
                    <a:pt x="175" y="211"/>
                    <a:pt x="169" y="152"/>
                    <a:pt x="139" y="101"/>
                  </a:cubicBezTo>
                </a:path>
              </a:pathLst>
            </a:custGeom>
            <a:solidFill>
              <a:schemeClr val="accent3">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7" name="Freeform 127">
              <a:extLst>
                <a:ext uri="{FF2B5EF4-FFF2-40B4-BE49-F238E27FC236}">
                  <a16:creationId xmlns:a16="http://schemas.microsoft.com/office/drawing/2014/main" id="{8B450A0D-982B-4E4B-A168-7B799A45948C}"/>
                </a:ext>
              </a:extLst>
            </p:cNvPr>
            <p:cNvSpPr>
              <a:spLocks noChangeArrowheads="1"/>
            </p:cNvSpPr>
            <p:nvPr/>
          </p:nvSpPr>
          <p:spPr bwMode="auto">
            <a:xfrm>
              <a:off x="2101850" y="7213600"/>
              <a:ext cx="187325" cy="236538"/>
            </a:xfrm>
            <a:custGeom>
              <a:avLst/>
              <a:gdLst>
                <a:gd name="T0" fmla="*/ 60 w 522"/>
                <a:gd name="T1" fmla="*/ 516 h 655"/>
                <a:gd name="T2" fmla="*/ 355 w 522"/>
                <a:gd name="T3" fmla="*/ 595 h 655"/>
                <a:gd name="T4" fmla="*/ 521 w 522"/>
                <a:gd name="T5" fmla="*/ 499 h 655"/>
                <a:gd name="T6" fmla="*/ 521 w 522"/>
                <a:gd name="T7" fmla="*/ 0 h 655"/>
                <a:gd name="T8" fmla="*/ 139 w 522"/>
                <a:gd name="T9" fmla="*/ 221 h 655"/>
                <a:gd name="T10" fmla="*/ 60 w 522"/>
                <a:gd name="T11" fmla="*/ 516 h 655"/>
              </a:gdLst>
              <a:ahLst/>
              <a:cxnLst>
                <a:cxn ang="0">
                  <a:pos x="T0" y="T1"/>
                </a:cxn>
                <a:cxn ang="0">
                  <a:pos x="T2" y="T3"/>
                </a:cxn>
                <a:cxn ang="0">
                  <a:pos x="T4" y="T5"/>
                </a:cxn>
                <a:cxn ang="0">
                  <a:pos x="T6" y="T7"/>
                </a:cxn>
                <a:cxn ang="0">
                  <a:pos x="T8" y="T9"/>
                </a:cxn>
                <a:cxn ang="0">
                  <a:pos x="T10" y="T11"/>
                </a:cxn>
              </a:cxnLst>
              <a:rect l="0" t="0" r="r" b="b"/>
              <a:pathLst>
                <a:path w="522" h="655">
                  <a:moveTo>
                    <a:pt x="60" y="516"/>
                  </a:moveTo>
                  <a:cubicBezTo>
                    <a:pt x="120" y="619"/>
                    <a:pt x="252" y="654"/>
                    <a:pt x="355" y="595"/>
                  </a:cubicBezTo>
                  <a:lnTo>
                    <a:pt x="521" y="499"/>
                  </a:lnTo>
                  <a:lnTo>
                    <a:pt x="521" y="0"/>
                  </a:lnTo>
                  <a:lnTo>
                    <a:pt x="139" y="221"/>
                  </a:lnTo>
                  <a:cubicBezTo>
                    <a:pt x="36" y="280"/>
                    <a:pt x="0" y="412"/>
                    <a:pt x="60" y="516"/>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
        <p:nvSpPr>
          <p:cNvPr id="2" name="Title 1"/>
          <p:cNvSpPr>
            <a:spLocks noGrp="1"/>
          </p:cNvSpPr>
          <p:nvPr>
            <p:ph type="title"/>
          </p:nvPr>
        </p:nvSpPr>
        <p:spPr>
          <a:xfrm>
            <a:off x="468000" y="1224000"/>
            <a:ext cx="5158800" cy="2271600"/>
          </a:xfrm>
        </p:spPr>
        <p:txBody>
          <a:bodyPr/>
          <a:lstStyle>
            <a:lvl1pPr>
              <a:lnSpc>
                <a:spcPts val="6800"/>
              </a:lnSpc>
              <a:defRPr sz="5890"/>
            </a:lvl1pPr>
          </a:lstStyle>
          <a:p>
            <a:r>
              <a:rPr lang="en-US" noProof="0" dirty="0"/>
              <a:t>Click to edit Master title style</a:t>
            </a:r>
            <a:endParaRPr lang="en-GB" noProof="0" dirty="0"/>
          </a:p>
        </p:txBody>
      </p:sp>
      <p:sp>
        <p:nvSpPr>
          <p:cNvPr id="3" name="Content Placeholder 2"/>
          <p:cNvSpPr>
            <a:spLocks noGrp="1"/>
          </p:cNvSpPr>
          <p:nvPr>
            <p:ph idx="1"/>
          </p:nvPr>
        </p:nvSpPr>
        <p:spPr>
          <a:xfrm>
            <a:off x="6935788" y="1359725"/>
            <a:ext cx="3849812" cy="4219200"/>
          </a:xfrm>
        </p:spPr>
        <p:txBody>
          <a:bodyPr/>
          <a:lstStyle>
            <a:lvl1pPr marL="0" indent="0">
              <a:lnSpc>
                <a:spcPts val="2530"/>
              </a:lnSpc>
              <a:spcAft>
                <a:spcPts val="850"/>
              </a:spcAft>
              <a:buClr>
                <a:schemeClr val="accent4"/>
              </a:buClr>
              <a:buFont typeface="Wingdings" panose="05000000000000000000" pitchFamily="2" charset="2"/>
              <a:buNone/>
              <a:defRPr sz="2170"/>
            </a:lvl1pPr>
          </a:lstStyle>
          <a:p>
            <a:pPr lvl="0"/>
            <a:r>
              <a:rPr lang="en-US" noProof="0" dirty="0"/>
              <a:t>Click to edit Master text styles</a:t>
            </a:r>
            <a:endParaRPr lang="en-GB" noProof="0" dirty="0"/>
          </a:p>
        </p:txBody>
      </p:sp>
      <p:sp>
        <p:nvSpPr>
          <p:cNvPr id="7" name="Date Placeholder 6">
            <a:extLst>
              <a:ext uri="{FF2B5EF4-FFF2-40B4-BE49-F238E27FC236}">
                <a16:creationId xmlns:a16="http://schemas.microsoft.com/office/drawing/2014/main" id="{78688919-E234-42AA-92AE-3C26DD2F4227}"/>
              </a:ext>
            </a:extLst>
          </p:cNvPr>
          <p:cNvSpPr>
            <a:spLocks noGrp="1"/>
          </p:cNvSpPr>
          <p:nvPr>
            <p:ph type="dt" sz="half" idx="10"/>
          </p:nvPr>
        </p:nvSpPr>
        <p:spPr/>
        <p:txBody>
          <a:bodyPr/>
          <a:lstStyle/>
          <a:p>
            <a:fld id="{B22A1809-4DEC-4178-9494-AA8DA69CA020}" type="datetime3">
              <a:rPr lang="en-US" noProof="0" smtClean="0"/>
              <a:t>22 December 2023</a:t>
            </a:fld>
            <a:endParaRPr lang="en-GB" noProof="0" dirty="0"/>
          </a:p>
        </p:txBody>
      </p:sp>
      <p:sp>
        <p:nvSpPr>
          <p:cNvPr id="8" name="Footer Placeholder 7">
            <a:extLst>
              <a:ext uri="{FF2B5EF4-FFF2-40B4-BE49-F238E27FC236}">
                <a16:creationId xmlns:a16="http://schemas.microsoft.com/office/drawing/2014/main" id="{84C93AF6-C1DC-4BAF-A2C6-2C711470C1EA}"/>
              </a:ext>
            </a:extLst>
          </p:cNvPr>
          <p:cNvSpPr>
            <a:spLocks noGrp="1"/>
          </p:cNvSpPr>
          <p:nvPr>
            <p:ph type="ftr" sz="quarter" idx="11"/>
          </p:nvPr>
        </p:nvSpPr>
        <p:spPr/>
        <p:txBody>
          <a:bodyPr/>
          <a:lstStyle/>
          <a:p>
            <a:r>
              <a:rPr lang="en-GB" noProof="0" dirty="0"/>
              <a:t>© Colt Technology Services  |  Presentation title here</a:t>
            </a:r>
          </a:p>
        </p:txBody>
      </p:sp>
      <p:sp>
        <p:nvSpPr>
          <p:cNvPr id="9" name="Slide Number Placeholder 8">
            <a:extLst>
              <a:ext uri="{FF2B5EF4-FFF2-40B4-BE49-F238E27FC236}">
                <a16:creationId xmlns:a16="http://schemas.microsoft.com/office/drawing/2014/main" id="{A950F5AD-6CA0-4A01-B76E-2C5F74AB978F}"/>
              </a:ext>
            </a:extLst>
          </p:cNvPr>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dirty="0"/>
          </a:p>
        </p:txBody>
      </p:sp>
    </p:spTree>
    <p:extLst>
      <p:ext uri="{BB962C8B-B14F-4D97-AF65-F5344CB8AC3E}">
        <p14:creationId xmlns:p14="http://schemas.microsoft.com/office/powerpoint/2010/main" val="2085821484"/>
      </p:ext>
    </p:extLst>
  </p:cSld>
  <p:clrMapOvr>
    <a:masterClrMapping/>
  </p:clrMapOvr>
  <p:extLst>
    <p:ext uri="{DCECCB84-F9BA-43D5-87BE-67443E8EF086}">
      <p15:sldGuideLst xmlns:p15="http://schemas.microsoft.com/office/powerpoint/2012/main">
        <p15:guide id="1" pos="4369" userDrawn="1">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Pullout &amp; text large v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sz="half" idx="1"/>
          </p:nvPr>
        </p:nvSpPr>
        <p:spPr>
          <a:xfrm>
            <a:off x="468000" y="1224000"/>
            <a:ext cx="5158800" cy="4925376"/>
          </a:xfrm>
        </p:spPr>
        <p:txBody>
          <a:bodyPr/>
          <a:lstStyle>
            <a:lvl1pPr>
              <a:lnSpc>
                <a:spcPts val="6800"/>
              </a:lnSpc>
              <a:defRPr sz="589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noProof="0" dirty="0"/>
              <a:t>Click to edit Master text styles</a:t>
            </a:r>
            <a:endParaRPr lang="en-GB" noProof="0" dirty="0"/>
          </a:p>
        </p:txBody>
      </p:sp>
      <p:sp>
        <p:nvSpPr>
          <p:cNvPr id="4" name="Content Placeholder 3"/>
          <p:cNvSpPr>
            <a:spLocks noGrp="1"/>
          </p:cNvSpPr>
          <p:nvPr>
            <p:ph sz="half" idx="2"/>
          </p:nvPr>
        </p:nvSpPr>
        <p:spPr>
          <a:xfrm>
            <a:off x="6566400" y="1368749"/>
            <a:ext cx="5158800" cy="4806626"/>
          </a:xfrm>
        </p:spPr>
        <p:txBody>
          <a:bodyPr vert="horz" lIns="0" tIns="0" rIns="0" bIns="0" rtlCol="0" anchor="t" anchorCtr="0">
            <a:noAutofit/>
          </a:bodyPr>
          <a:lstStyle>
            <a:lvl1pPr>
              <a:spcAft>
                <a:spcPts val="1800"/>
              </a:spcAft>
              <a:defRPr lang="en-US" noProof="0" dirty="0" smtClean="0"/>
            </a:lvl1pPr>
            <a:lvl2pPr>
              <a:spcAft>
                <a:spcPts val="1800"/>
              </a:spcAft>
              <a:defRPr lang="en-US" noProof="0" dirty="0" smtClean="0"/>
            </a:lvl2pPr>
            <a:lvl3pPr>
              <a:defRPr lang="en-US" noProof="0" dirty="0" smtClean="0"/>
            </a:lvl3pPr>
            <a:lvl4pPr>
              <a:defRPr lang="en-US" noProof="0" dirty="0" smtClean="0"/>
            </a:lvl4pPr>
            <a:lvl5pPr>
              <a:defRPr lang="en-GB" noProof="0" dirty="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5" name="Date Placeholder 4"/>
          <p:cNvSpPr>
            <a:spLocks noGrp="1"/>
          </p:cNvSpPr>
          <p:nvPr>
            <p:ph type="dt" sz="half" idx="10"/>
          </p:nvPr>
        </p:nvSpPr>
        <p:spPr/>
        <p:txBody>
          <a:bodyPr/>
          <a:lstStyle/>
          <a:p>
            <a:fld id="{7703E8F5-19F9-453D-B01A-500B01858F6E}" type="datetime3">
              <a:rPr lang="en-US" noProof="0" smtClean="0"/>
              <a:t>22 December 2023</a:t>
            </a:fld>
            <a:endParaRPr lang="en-GB" noProof="0" dirty="0"/>
          </a:p>
        </p:txBody>
      </p:sp>
      <p:sp>
        <p:nvSpPr>
          <p:cNvPr id="6" name="Footer Placeholder 5"/>
          <p:cNvSpPr>
            <a:spLocks noGrp="1"/>
          </p:cNvSpPr>
          <p:nvPr>
            <p:ph type="ftr" sz="quarter" idx="11"/>
          </p:nvPr>
        </p:nvSpPr>
        <p:spPr/>
        <p:txBody>
          <a:bodyPr/>
          <a:lstStyle/>
          <a:p>
            <a:r>
              <a:rPr lang="en-GB" noProof="0" dirty="0"/>
              <a:t>© Colt Technology Services  |  Presentation title here</a:t>
            </a:r>
          </a:p>
        </p:txBody>
      </p:sp>
      <p:sp>
        <p:nvSpPr>
          <p:cNvPr id="7" name="Slide Number Placeholder 6"/>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dirty="0"/>
          </a:p>
        </p:txBody>
      </p:sp>
    </p:spTree>
    <p:extLst>
      <p:ext uri="{BB962C8B-B14F-4D97-AF65-F5344CB8AC3E}">
        <p14:creationId xmlns:p14="http://schemas.microsoft.com/office/powerpoint/2010/main" val="17721355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Pullout &amp; text small v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sz="half" idx="1"/>
          </p:nvPr>
        </p:nvSpPr>
        <p:spPr>
          <a:xfrm>
            <a:off x="468000" y="1330387"/>
            <a:ext cx="5158800" cy="4844988"/>
          </a:xfrm>
        </p:spPr>
        <p:txBody>
          <a:bodyPr/>
          <a:lstStyle>
            <a:lvl1pPr>
              <a:lnSpc>
                <a:spcPts val="3620"/>
              </a:lnSpc>
              <a:defRPr sz="299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noProof="0" dirty="0"/>
              <a:t>Click to edit Master text styles</a:t>
            </a:r>
            <a:endParaRPr lang="en-GB" noProof="0" dirty="0"/>
          </a:p>
        </p:txBody>
      </p:sp>
      <p:sp>
        <p:nvSpPr>
          <p:cNvPr id="4" name="Content Placeholder 3"/>
          <p:cNvSpPr>
            <a:spLocks noGrp="1"/>
          </p:cNvSpPr>
          <p:nvPr>
            <p:ph sz="half" idx="2"/>
          </p:nvPr>
        </p:nvSpPr>
        <p:spPr>
          <a:xfrm>
            <a:off x="6566400" y="1368749"/>
            <a:ext cx="4690800" cy="4806626"/>
          </a:xfrm>
        </p:spPr>
        <p:txBody>
          <a:bodyPr vert="horz" lIns="0" tIns="0" rIns="0" bIns="0" rtlCol="0" anchor="t" anchorCtr="0">
            <a:noAutofit/>
          </a:bodyPr>
          <a:lstStyle>
            <a:lvl1pPr>
              <a:spcAft>
                <a:spcPts val="1800"/>
              </a:spcAft>
              <a:defRPr lang="en-US" noProof="0" dirty="0" smtClean="0"/>
            </a:lvl1pPr>
            <a:lvl2pPr>
              <a:spcAft>
                <a:spcPts val="1800"/>
              </a:spcAft>
              <a:defRPr lang="en-US" noProof="0" dirty="0" smtClean="0"/>
            </a:lvl2pPr>
            <a:lvl3pPr>
              <a:defRPr lang="en-US" noProof="0" dirty="0" smtClean="0"/>
            </a:lvl3pPr>
            <a:lvl4pPr>
              <a:defRPr lang="en-US" noProof="0" dirty="0" smtClean="0"/>
            </a:lvl4pPr>
            <a:lvl5pPr>
              <a:defRPr lang="en-GB" noProof="0" dirty="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6" name="Footer Placeholder 5"/>
          <p:cNvSpPr>
            <a:spLocks noGrp="1"/>
          </p:cNvSpPr>
          <p:nvPr>
            <p:ph type="ftr" sz="quarter" idx="11"/>
          </p:nvPr>
        </p:nvSpPr>
        <p:spPr/>
        <p:txBody>
          <a:bodyPr/>
          <a:lstStyle/>
          <a:p>
            <a:r>
              <a:rPr lang="en-GB" noProof="0" dirty="0"/>
              <a:t>© Colt Technology Services  |  Presentation title here</a:t>
            </a:r>
          </a:p>
        </p:txBody>
      </p:sp>
      <p:sp>
        <p:nvSpPr>
          <p:cNvPr id="7" name="Slide Number Placeholder 6"/>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dirty="0"/>
          </a:p>
        </p:txBody>
      </p:sp>
    </p:spTree>
    <p:extLst>
      <p:ext uri="{BB962C8B-B14F-4D97-AF65-F5344CB8AC3E}">
        <p14:creationId xmlns:p14="http://schemas.microsoft.com/office/powerpoint/2010/main" val="25005249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4_Title Slide v4">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4F1EB85C-C0F5-EE48-A615-A3F9D48F0180}"/>
              </a:ext>
            </a:extLst>
          </p:cNvPr>
          <p:cNvPicPr>
            <a:picLocks noChangeAspect="1"/>
          </p:cNvPicPr>
          <p:nvPr userDrawn="1"/>
        </p:nvPicPr>
        <p:blipFill>
          <a:blip r:embed="rId2"/>
          <a:stretch>
            <a:fillRect/>
          </a:stretch>
        </p:blipFill>
        <p:spPr>
          <a:xfrm>
            <a:off x="7018965" y="0"/>
            <a:ext cx="5156200" cy="5880100"/>
          </a:xfrm>
          <a:prstGeom prst="rect">
            <a:avLst/>
          </a:prstGeom>
        </p:spPr>
      </p:pic>
      <p:sp>
        <p:nvSpPr>
          <p:cNvPr id="2" name="Title 1"/>
          <p:cNvSpPr>
            <a:spLocks noGrp="1"/>
          </p:cNvSpPr>
          <p:nvPr>
            <p:ph type="ctrTitle" hasCustomPrompt="1"/>
          </p:nvPr>
        </p:nvSpPr>
        <p:spPr>
          <a:xfrm>
            <a:off x="1875600" y="2286000"/>
            <a:ext cx="7306500" cy="1884008"/>
          </a:xfrm>
        </p:spPr>
        <p:txBody>
          <a:bodyPr/>
          <a:lstStyle>
            <a:lvl1pPr algn="l">
              <a:lnSpc>
                <a:spcPts val="6630"/>
              </a:lnSpc>
              <a:defRPr sz="6630"/>
            </a:lvl1pPr>
          </a:lstStyle>
          <a:p>
            <a:r>
              <a:rPr lang="en-GB" dirty="0"/>
              <a:t>Title Slide</a:t>
            </a:r>
            <a:endParaRPr lang="en-GB" noProof="0" dirty="0"/>
          </a:p>
        </p:txBody>
      </p:sp>
      <p:sp>
        <p:nvSpPr>
          <p:cNvPr id="3" name="Subtitle 2"/>
          <p:cNvSpPr>
            <a:spLocks noGrp="1"/>
          </p:cNvSpPr>
          <p:nvPr>
            <p:ph type="subTitle" idx="1"/>
          </p:nvPr>
        </p:nvSpPr>
        <p:spPr>
          <a:xfrm>
            <a:off x="1875600" y="4170008"/>
            <a:ext cx="7306500" cy="226795"/>
          </a:xfrm>
        </p:spPr>
        <p:txBody>
          <a:bodyPr/>
          <a:lstStyle>
            <a:lvl1pPr marL="0" indent="0" algn="l">
              <a:lnSpc>
                <a:spcPts val="1590"/>
              </a:lnSpc>
              <a:spcAft>
                <a:spcPts val="0"/>
              </a:spcAft>
              <a:buNone/>
              <a:defRPr sz="141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sp>
        <p:nvSpPr>
          <p:cNvPr id="4" name="Date Placeholder 3"/>
          <p:cNvSpPr>
            <a:spLocks noGrp="1"/>
          </p:cNvSpPr>
          <p:nvPr>
            <p:ph type="dt" sz="half" idx="10"/>
          </p:nvPr>
        </p:nvSpPr>
        <p:spPr>
          <a:xfrm>
            <a:off x="1875600" y="4414345"/>
            <a:ext cx="3996000" cy="288000"/>
          </a:xfrm>
        </p:spPr>
        <p:txBody>
          <a:bodyPr anchor="t" anchorCtr="0"/>
          <a:lstStyle>
            <a:lvl1pPr>
              <a:lnSpc>
                <a:spcPts val="1590"/>
              </a:lnSpc>
              <a:defRPr sz="1410">
                <a:solidFill>
                  <a:schemeClr val="accent2"/>
                </a:solidFill>
              </a:defRPr>
            </a:lvl1pPr>
          </a:lstStyle>
          <a:p>
            <a:pPr>
              <a:lnSpc>
                <a:spcPts val="1590"/>
              </a:lnSpc>
            </a:pPr>
            <a:fld id="{1C246972-E14A-4730-BC91-3E95C3F7192F}" type="datetime3">
              <a:rPr lang="en-US" smtClean="0"/>
              <a:t>22 December 2023</a:t>
            </a:fld>
            <a:endParaRPr lang="en-GB" dirty="0"/>
          </a:p>
        </p:txBody>
      </p:sp>
      <p:grpSp>
        <p:nvGrpSpPr>
          <p:cNvPr id="9" name="Group 8">
            <a:extLst>
              <a:ext uri="{FF2B5EF4-FFF2-40B4-BE49-F238E27FC236}">
                <a16:creationId xmlns:a16="http://schemas.microsoft.com/office/drawing/2014/main" id="{47D0206B-82CB-E348-8A78-9CA3278CF4AE}"/>
              </a:ext>
            </a:extLst>
          </p:cNvPr>
          <p:cNvGrpSpPr/>
          <p:nvPr userDrawn="1"/>
        </p:nvGrpSpPr>
        <p:grpSpPr>
          <a:xfrm>
            <a:off x="471600" y="443753"/>
            <a:ext cx="1412891" cy="552898"/>
            <a:chOff x="3562350" y="3567113"/>
            <a:chExt cx="3476625" cy="1360487"/>
          </a:xfrm>
          <a:solidFill>
            <a:schemeClr val="accent1"/>
          </a:solidFill>
        </p:grpSpPr>
        <p:sp>
          <p:nvSpPr>
            <p:cNvPr id="10" name="Freeform 1">
              <a:extLst>
                <a:ext uri="{FF2B5EF4-FFF2-40B4-BE49-F238E27FC236}">
                  <a16:creationId xmlns:a16="http://schemas.microsoft.com/office/drawing/2014/main" id="{A91CD9E0-78A1-E844-9E19-A98DCA3FDD23}"/>
                </a:ext>
              </a:extLst>
            </p:cNvPr>
            <p:cNvSpPr>
              <a:spLocks noChangeArrowheads="1"/>
            </p:cNvSpPr>
            <p:nvPr/>
          </p:nvSpPr>
          <p:spPr bwMode="auto">
            <a:xfrm>
              <a:off x="4710113" y="3800475"/>
              <a:ext cx="1136650" cy="1127125"/>
            </a:xfrm>
            <a:custGeom>
              <a:avLst/>
              <a:gdLst>
                <a:gd name="T0" fmla="*/ 10 w 3158"/>
                <a:gd name="T1" fmla="*/ 1539 h 3130"/>
                <a:gd name="T2" fmla="*/ 1599 w 3158"/>
                <a:gd name="T3" fmla="*/ 13 h 3130"/>
                <a:gd name="T4" fmla="*/ 3148 w 3158"/>
                <a:gd name="T5" fmla="*/ 1584 h 3130"/>
                <a:gd name="T6" fmla="*/ 1560 w 3158"/>
                <a:gd name="T7" fmla="*/ 3116 h 3130"/>
                <a:gd name="T8" fmla="*/ 10 w 3158"/>
                <a:gd name="T9" fmla="*/ 1545 h 3130"/>
                <a:gd name="T10" fmla="*/ 10 w 3158"/>
                <a:gd name="T11" fmla="*/ 1539 h 3130"/>
                <a:gd name="T12" fmla="*/ 711 w 3158"/>
                <a:gd name="T13" fmla="*/ 1553 h 3130"/>
                <a:gd name="T14" fmla="*/ 1568 w 3158"/>
                <a:gd name="T15" fmla="*/ 2456 h 3130"/>
                <a:gd name="T16" fmla="*/ 2446 w 3158"/>
                <a:gd name="T17" fmla="*/ 1570 h 3130"/>
                <a:gd name="T18" fmla="*/ 1591 w 3158"/>
                <a:gd name="T19" fmla="*/ 662 h 3130"/>
                <a:gd name="T20" fmla="*/ 712 w 3158"/>
                <a:gd name="T21" fmla="*/ 1548 h 3130"/>
                <a:gd name="T22" fmla="*/ 711 w 3158"/>
                <a:gd name="T23" fmla="*/ 1553 h 3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58" h="3130">
                  <a:moveTo>
                    <a:pt x="10" y="1539"/>
                  </a:moveTo>
                  <a:cubicBezTo>
                    <a:pt x="19" y="790"/>
                    <a:pt x="578" y="0"/>
                    <a:pt x="1599" y="13"/>
                  </a:cubicBezTo>
                  <a:cubicBezTo>
                    <a:pt x="2619" y="26"/>
                    <a:pt x="3157" y="830"/>
                    <a:pt x="3148" y="1584"/>
                  </a:cubicBezTo>
                  <a:cubicBezTo>
                    <a:pt x="3138" y="2341"/>
                    <a:pt x="2579" y="3129"/>
                    <a:pt x="1560" y="3116"/>
                  </a:cubicBezTo>
                  <a:cubicBezTo>
                    <a:pt x="539" y="3104"/>
                    <a:pt x="0" y="2302"/>
                    <a:pt x="10" y="1545"/>
                  </a:cubicBezTo>
                  <a:lnTo>
                    <a:pt x="10" y="1539"/>
                  </a:lnTo>
                  <a:close/>
                  <a:moveTo>
                    <a:pt x="711" y="1553"/>
                  </a:moveTo>
                  <a:cubicBezTo>
                    <a:pt x="705" y="2065"/>
                    <a:pt x="1089" y="2451"/>
                    <a:pt x="1568" y="2456"/>
                  </a:cubicBezTo>
                  <a:cubicBezTo>
                    <a:pt x="2047" y="2462"/>
                    <a:pt x="2440" y="2087"/>
                    <a:pt x="2446" y="1570"/>
                  </a:cubicBezTo>
                  <a:cubicBezTo>
                    <a:pt x="2453" y="1054"/>
                    <a:pt x="2070" y="669"/>
                    <a:pt x="1591" y="662"/>
                  </a:cubicBezTo>
                  <a:cubicBezTo>
                    <a:pt x="1112" y="656"/>
                    <a:pt x="718" y="1032"/>
                    <a:pt x="712" y="1548"/>
                  </a:cubicBezTo>
                  <a:lnTo>
                    <a:pt x="711" y="15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1" name="Freeform 2">
              <a:extLst>
                <a:ext uri="{FF2B5EF4-FFF2-40B4-BE49-F238E27FC236}">
                  <a16:creationId xmlns:a16="http://schemas.microsoft.com/office/drawing/2014/main" id="{60FF600C-3CD7-B443-BBBD-AC259128FF35}"/>
                </a:ext>
              </a:extLst>
            </p:cNvPr>
            <p:cNvSpPr>
              <a:spLocks noChangeArrowheads="1"/>
            </p:cNvSpPr>
            <p:nvPr/>
          </p:nvSpPr>
          <p:spPr bwMode="auto">
            <a:xfrm>
              <a:off x="5969000" y="3567113"/>
              <a:ext cx="455613" cy="1338262"/>
            </a:xfrm>
            <a:custGeom>
              <a:avLst/>
              <a:gdLst>
                <a:gd name="T0" fmla="*/ 971 w 1264"/>
                <a:gd name="T1" fmla="*/ 3165 h 3717"/>
                <a:gd name="T2" fmla="*/ 765 w 1264"/>
                <a:gd name="T3" fmla="*/ 2983 h 3717"/>
                <a:gd name="T4" fmla="*/ 803 w 1264"/>
                <a:gd name="T5" fmla="*/ 9 h 3717"/>
                <a:gd name="T6" fmla="*/ 101 w 1264"/>
                <a:gd name="T7" fmla="*/ 0 h 3717"/>
                <a:gd name="T8" fmla="*/ 64 w 1264"/>
                <a:gd name="T9" fmla="*/ 2965 h 3717"/>
                <a:gd name="T10" fmla="*/ 696 w 1264"/>
                <a:gd name="T11" fmla="*/ 3708 h 3717"/>
                <a:gd name="T12" fmla="*/ 696 w 1264"/>
                <a:gd name="T13" fmla="*/ 3709 h 3717"/>
                <a:gd name="T14" fmla="*/ 1256 w 1264"/>
                <a:gd name="T15" fmla="*/ 3716 h 3717"/>
                <a:gd name="T16" fmla="*/ 1263 w 1264"/>
                <a:gd name="T17" fmla="*/ 3168 h 3717"/>
                <a:gd name="T18" fmla="*/ 971 w 1264"/>
                <a:gd name="T19" fmla="*/ 3165 h 3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4" h="3717">
                  <a:moveTo>
                    <a:pt x="971" y="3165"/>
                  </a:moveTo>
                  <a:cubicBezTo>
                    <a:pt x="971" y="3165"/>
                    <a:pt x="768" y="3164"/>
                    <a:pt x="765" y="2983"/>
                  </a:cubicBezTo>
                  <a:lnTo>
                    <a:pt x="803" y="9"/>
                  </a:lnTo>
                  <a:lnTo>
                    <a:pt x="101" y="0"/>
                  </a:lnTo>
                  <a:lnTo>
                    <a:pt x="64" y="2965"/>
                  </a:lnTo>
                  <a:cubicBezTo>
                    <a:pt x="64" y="2965"/>
                    <a:pt x="0" y="3699"/>
                    <a:pt x="696" y="3708"/>
                  </a:cubicBezTo>
                  <a:lnTo>
                    <a:pt x="696" y="3709"/>
                  </a:lnTo>
                  <a:lnTo>
                    <a:pt x="1256" y="3716"/>
                  </a:lnTo>
                  <a:lnTo>
                    <a:pt x="1263" y="3168"/>
                  </a:lnTo>
                  <a:lnTo>
                    <a:pt x="971" y="31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2" name="Freeform 3">
              <a:extLst>
                <a:ext uri="{FF2B5EF4-FFF2-40B4-BE49-F238E27FC236}">
                  <a16:creationId xmlns:a16="http://schemas.microsoft.com/office/drawing/2014/main" id="{B80BA92B-2653-FF4E-ABF3-0C30E823BD23}"/>
                </a:ext>
              </a:extLst>
            </p:cNvPr>
            <p:cNvSpPr>
              <a:spLocks noChangeArrowheads="1"/>
            </p:cNvSpPr>
            <p:nvPr/>
          </p:nvSpPr>
          <p:spPr bwMode="auto">
            <a:xfrm>
              <a:off x="3562350" y="3786188"/>
              <a:ext cx="1069975" cy="1127125"/>
            </a:xfrm>
            <a:custGeom>
              <a:avLst/>
              <a:gdLst>
                <a:gd name="T0" fmla="*/ 2366 w 2971"/>
                <a:gd name="T1" fmla="*/ 1976 h 3132"/>
                <a:gd name="T2" fmla="*/ 1569 w 2971"/>
                <a:gd name="T3" fmla="*/ 2468 h 3132"/>
                <a:gd name="T4" fmla="*/ 716 w 2971"/>
                <a:gd name="T5" fmla="*/ 1556 h 3132"/>
                <a:gd name="T6" fmla="*/ 966 w 2971"/>
                <a:gd name="T7" fmla="*/ 910 h 3132"/>
                <a:gd name="T8" fmla="*/ 1593 w 2971"/>
                <a:gd name="T9" fmla="*/ 667 h 3132"/>
                <a:gd name="T10" fmla="*/ 2376 w 2971"/>
                <a:gd name="T11" fmla="*/ 1201 h 3132"/>
                <a:gd name="T12" fmla="*/ 2970 w 2971"/>
                <a:gd name="T13" fmla="*/ 871 h 3132"/>
                <a:gd name="T14" fmla="*/ 1576 w 2971"/>
                <a:gd name="T15" fmla="*/ 12 h 3132"/>
                <a:gd name="T16" fmla="*/ 11 w 2971"/>
                <a:gd name="T17" fmla="*/ 1545 h 3132"/>
                <a:gd name="T18" fmla="*/ 1559 w 2971"/>
                <a:gd name="T19" fmla="*/ 3123 h 3132"/>
                <a:gd name="T20" fmla="*/ 2950 w 2971"/>
                <a:gd name="T21" fmla="*/ 2314 h 3132"/>
                <a:gd name="T22" fmla="*/ 2379 w 2971"/>
                <a:gd name="T23" fmla="*/ 1977 h 3132"/>
                <a:gd name="T24" fmla="*/ 2366 w 2971"/>
                <a:gd name="T25" fmla="*/ 1976 h 3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1" h="3132">
                  <a:moveTo>
                    <a:pt x="2366" y="1976"/>
                  </a:moveTo>
                  <a:cubicBezTo>
                    <a:pt x="2256" y="2216"/>
                    <a:pt x="2006" y="2472"/>
                    <a:pt x="1569" y="2468"/>
                  </a:cubicBezTo>
                  <a:cubicBezTo>
                    <a:pt x="1072" y="2462"/>
                    <a:pt x="710" y="2081"/>
                    <a:pt x="716" y="1556"/>
                  </a:cubicBezTo>
                  <a:cubicBezTo>
                    <a:pt x="720" y="1300"/>
                    <a:pt x="815" y="1064"/>
                    <a:pt x="966" y="910"/>
                  </a:cubicBezTo>
                  <a:cubicBezTo>
                    <a:pt x="1138" y="742"/>
                    <a:pt x="1337" y="657"/>
                    <a:pt x="1593" y="667"/>
                  </a:cubicBezTo>
                  <a:cubicBezTo>
                    <a:pt x="1976" y="670"/>
                    <a:pt x="2254" y="891"/>
                    <a:pt x="2376" y="1201"/>
                  </a:cubicBezTo>
                  <a:lnTo>
                    <a:pt x="2970" y="871"/>
                  </a:lnTo>
                  <a:cubicBezTo>
                    <a:pt x="2716" y="350"/>
                    <a:pt x="2184" y="19"/>
                    <a:pt x="1576" y="12"/>
                  </a:cubicBezTo>
                  <a:cubicBezTo>
                    <a:pt x="696" y="0"/>
                    <a:pt x="22" y="683"/>
                    <a:pt x="11" y="1545"/>
                  </a:cubicBezTo>
                  <a:cubicBezTo>
                    <a:pt x="0" y="2384"/>
                    <a:pt x="634" y="3111"/>
                    <a:pt x="1559" y="3123"/>
                  </a:cubicBezTo>
                  <a:cubicBezTo>
                    <a:pt x="2184" y="3131"/>
                    <a:pt x="2691" y="2793"/>
                    <a:pt x="2950" y="2314"/>
                  </a:cubicBezTo>
                  <a:lnTo>
                    <a:pt x="2379" y="1977"/>
                  </a:lnTo>
                  <a:lnTo>
                    <a:pt x="2366" y="19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4">
              <a:extLst>
                <a:ext uri="{FF2B5EF4-FFF2-40B4-BE49-F238E27FC236}">
                  <a16:creationId xmlns:a16="http://schemas.microsoft.com/office/drawing/2014/main" id="{66CC0EB8-DD1B-0940-94D2-A50C3B189C76}"/>
                </a:ext>
              </a:extLst>
            </p:cNvPr>
            <p:cNvSpPr>
              <a:spLocks noChangeArrowheads="1"/>
            </p:cNvSpPr>
            <p:nvPr/>
          </p:nvSpPr>
          <p:spPr bwMode="auto">
            <a:xfrm>
              <a:off x="6546850" y="3575050"/>
              <a:ext cx="492125" cy="1338263"/>
            </a:xfrm>
            <a:custGeom>
              <a:avLst/>
              <a:gdLst>
                <a:gd name="T0" fmla="*/ 960 w 1365"/>
                <a:gd name="T1" fmla="*/ 3164 h 3718"/>
                <a:gd name="T2" fmla="*/ 753 w 1365"/>
                <a:gd name="T3" fmla="*/ 2983 h 3718"/>
                <a:gd name="T4" fmla="*/ 773 w 1365"/>
                <a:gd name="T5" fmla="*/ 1401 h 3718"/>
                <a:gd name="T6" fmla="*/ 1336 w 1365"/>
                <a:gd name="T7" fmla="*/ 1408 h 3718"/>
                <a:gd name="T8" fmla="*/ 1343 w 1365"/>
                <a:gd name="T9" fmla="*/ 860 h 3718"/>
                <a:gd name="T10" fmla="*/ 780 w 1365"/>
                <a:gd name="T11" fmla="*/ 853 h 3718"/>
                <a:gd name="T12" fmla="*/ 791 w 1365"/>
                <a:gd name="T13" fmla="*/ 9 h 3718"/>
                <a:gd name="T14" fmla="*/ 89 w 1365"/>
                <a:gd name="T15" fmla="*/ 0 h 3718"/>
                <a:gd name="T16" fmla="*/ 51 w 1365"/>
                <a:gd name="T17" fmla="*/ 2965 h 3718"/>
                <a:gd name="T18" fmla="*/ 683 w 1365"/>
                <a:gd name="T19" fmla="*/ 3708 h 3718"/>
                <a:gd name="T20" fmla="*/ 684 w 1365"/>
                <a:gd name="T21" fmla="*/ 3708 h 3718"/>
                <a:gd name="T22" fmla="*/ 1357 w 1365"/>
                <a:gd name="T23" fmla="*/ 3717 h 3718"/>
                <a:gd name="T24" fmla="*/ 1364 w 1365"/>
                <a:gd name="T25" fmla="*/ 3169 h 3718"/>
                <a:gd name="T26" fmla="*/ 960 w 1365"/>
                <a:gd name="T27" fmla="*/ 3164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5" h="3718">
                  <a:moveTo>
                    <a:pt x="960" y="3164"/>
                  </a:moveTo>
                  <a:cubicBezTo>
                    <a:pt x="960" y="3164"/>
                    <a:pt x="756" y="3164"/>
                    <a:pt x="753" y="2983"/>
                  </a:cubicBezTo>
                  <a:lnTo>
                    <a:pt x="773" y="1401"/>
                  </a:lnTo>
                  <a:lnTo>
                    <a:pt x="1336" y="1408"/>
                  </a:lnTo>
                  <a:lnTo>
                    <a:pt x="1343" y="860"/>
                  </a:lnTo>
                  <a:lnTo>
                    <a:pt x="780" y="853"/>
                  </a:lnTo>
                  <a:lnTo>
                    <a:pt x="791" y="9"/>
                  </a:lnTo>
                  <a:lnTo>
                    <a:pt x="89" y="0"/>
                  </a:lnTo>
                  <a:lnTo>
                    <a:pt x="51" y="2965"/>
                  </a:lnTo>
                  <a:cubicBezTo>
                    <a:pt x="51" y="2965"/>
                    <a:pt x="0" y="3701"/>
                    <a:pt x="683" y="3708"/>
                  </a:cubicBezTo>
                  <a:lnTo>
                    <a:pt x="684" y="3708"/>
                  </a:lnTo>
                  <a:lnTo>
                    <a:pt x="1357" y="3717"/>
                  </a:lnTo>
                  <a:lnTo>
                    <a:pt x="1364" y="3169"/>
                  </a:lnTo>
                  <a:lnTo>
                    <a:pt x="960" y="31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grpSp>
        <p:nvGrpSpPr>
          <p:cNvPr id="19" name="Group 18">
            <a:extLst>
              <a:ext uri="{FF2B5EF4-FFF2-40B4-BE49-F238E27FC236}">
                <a16:creationId xmlns:a16="http://schemas.microsoft.com/office/drawing/2014/main" id="{C7575CB8-C6D7-7145-87B7-566E749E5632}"/>
              </a:ext>
            </a:extLst>
          </p:cNvPr>
          <p:cNvGrpSpPr/>
          <p:nvPr userDrawn="1"/>
        </p:nvGrpSpPr>
        <p:grpSpPr>
          <a:xfrm>
            <a:off x="-7916" y="0"/>
            <a:ext cx="12193199" cy="6868077"/>
            <a:chOff x="3392488" y="1893888"/>
            <a:chExt cx="1028700" cy="579437"/>
          </a:xfrm>
        </p:grpSpPr>
        <p:sp>
          <p:nvSpPr>
            <p:cNvPr id="20" name="Freeform 51">
              <a:extLst>
                <a:ext uri="{FF2B5EF4-FFF2-40B4-BE49-F238E27FC236}">
                  <a16:creationId xmlns:a16="http://schemas.microsoft.com/office/drawing/2014/main" id="{E055FF18-8604-1441-A906-7C2D35836D67}"/>
                </a:ext>
              </a:extLst>
            </p:cNvPr>
            <p:cNvSpPr>
              <a:spLocks noChangeArrowheads="1"/>
            </p:cNvSpPr>
            <p:nvPr/>
          </p:nvSpPr>
          <p:spPr bwMode="auto">
            <a:xfrm>
              <a:off x="3770313" y="1893888"/>
              <a:ext cx="334962" cy="144462"/>
            </a:xfrm>
            <a:custGeom>
              <a:avLst/>
              <a:gdLst>
                <a:gd name="T0" fmla="*/ 50 w 932"/>
                <a:gd name="T1" fmla="*/ 260 h 400"/>
                <a:gd name="T2" fmla="*/ 345 w 932"/>
                <a:gd name="T3" fmla="*/ 339 h 400"/>
                <a:gd name="T4" fmla="*/ 931 w 932"/>
                <a:gd name="T5" fmla="*/ 0 h 400"/>
                <a:gd name="T6" fmla="*/ 83 w 932"/>
                <a:gd name="T7" fmla="*/ 0 h 400"/>
                <a:gd name="T8" fmla="*/ 50 w 932"/>
                <a:gd name="T9" fmla="*/ 260 h 400"/>
              </a:gdLst>
              <a:ahLst/>
              <a:cxnLst>
                <a:cxn ang="0">
                  <a:pos x="T0" y="T1"/>
                </a:cxn>
                <a:cxn ang="0">
                  <a:pos x="T2" y="T3"/>
                </a:cxn>
                <a:cxn ang="0">
                  <a:pos x="T4" y="T5"/>
                </a:cxn>
                <a:cxn ang="0">
                  <a:pos x="T6" y="T7"/>
                </a:cxn>
                <a:cxn ang="0">
                  <a:pos x="T8" y="T9"/>
                </a:cxn>
              </a:cxnLst>
              <a:rect l="0" t="0" r="r" b="b"/>
              <a:pathLst>
                <a:path w="932" h="400">
                  <a:moveTo>
                    <a:pt x="50" y="260"/>
                  </a:moveTo>
                  <a:cubicBezTo>
                    <a:pt x="110" y="363"/>
                    <a:pt x="242" y="399"/>
                    <a:pt x="345" y="339"/>
                  </a:cubicBezTo>
                  <a:lnTo>
                    <a:pt x="931" y="0"/>
                  </a:lnTo>
                  <a:lnTo>
                    <a:pt x="83" y="0"/>
                  </a:lnTo>
                  <a:cubicBezTo>
                    <a:pt x="17" y="68"/>
                    <a:pt x="0" y="174"/>
                    <a:pt x="50" y="260"/>
                  </a:cubicBezTo>
                </a:path>
              </a:pathLst>
            </a:custGeom>
            <a:solidFill>
              <a:schemeClr val="accent4">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1" name="Freeform 52">
              <a:extLst>
                <a:ext uri="{FF2B5EF4-FFF2-40B4-BE49-F238E27FC236}">
                  <a16:creationId xmlns:a16="http://schemas.microsoft.com/office/drawing/2014/main" id="{502827BC-FD96-7D4C-9B2A-4AA933D6B617}"/>
                </a:ext>
              </a:extLst>
            </p:cNvPr>
            <p:cNvSpPr>
              <a:spLocks noChangeArrowheads="1"/>
            </p:cNvSpPr>
            <p:nvPr/>
          </p:nvSpPr>
          <p:spPr bwMode="auto">
            <a:xfrm>
              <a:off x="3392488" y="2146300"/>
              <a:ext cx="77787" cy="153988"/>
            </a:xfrm>
            <a:custGeom>
              <a:avLst/>
              <a:gdLst>
                <a:gd name="T0" fmla="*/ 155 w 215"/>
                <a:gd name="T1" fmla="*/ 105 h 428"/>
                <a:gd name="T2" fmla="*/ 0 w 215"/>
                <a:gd name="T3" fmla="*/ 0 h 428"/>
                <a:gd name="T4" fmla="*/ 0 w 215"/>
                <a:gd name="T5" fmla="*/ 66 h 428"/>
                <a:gd name="T6" fmla="*/ 98 w 215"/>
                <a:gd name="T7" fmla="*/ 138 h 428"/>
                <a:gd name="T8" fmla="*/ 113 w 215"/>
                <a:gd name="T9" fmla="*/ 252 h 428"/>
                <a:gd name="T10" fmla="*/ 43 w 215"/>
                <a:gd name="T11" fmla="*/ 344 h 428"/>
                <a:gd name="T12" fmla="*/ 0 w 215"/>
                <a:gd name="T13" fmla="*/ 360 h 428"/>
                <a:gd name="T14" fmla="*/ 0 w 215"/>
                <a:gd name="T15" fmla="*/ 427 h 428"/>
                <a:gd name="T16" fmla="*/ 76 w 215"/>
                <a:gd name="T17" fmla="*/ 400 h 428"/>
                <a:gd name="T18" fmla="*/ 155 w 215"/>
                <a:gd name="T19" fmla="*/ 10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428">
                  <a:moveTo>
                    <a:pt x="155" y="105"/>
                  </a:moveTo>
                  <a:cubicBezTo>
                    <a:pt x="121" y="46"/>
                    <a:pt x="63" y="10"/>
                    <a:pt x="0" y="0"/>
                  </a:cubicBezTo>
                  <a:lnTo>
                    <a:pt x="0" y="66"/>
                  </a:lnTo>
                  <a:cubicBezTo>
                    <a:pt x="41" y="76"/>
                    <a:pt x="77" y="101"/>
                    <a:pt x="98" y="138"/>
                  </a:cubicBezTo>
                  <a:cubicBezTo>
                    <a:pt x="118" y="173"/>
                    <a:pt x="123" y="213"/>
                    <a:pt x="113" y="252"/>
                  </a:cubicBezTo>
                  <a:cubicBezTo>
                    <a:pt x="102" y="291"/>
                    <a:pt x="78" y="324"/>
                    <a:pt x="43" y="344"/>
                  </a:cubicBezTo>
                  <a:cubicBezTo>
                    <a:pt x="30" y="351"/>
                    <a:pt x="15" y="357"/>
                    <a:pt x="0" y="360"/>
                  </a:cubicBezTo>
                  <a:lnTo>
                    <a:pt x="0" y="427"/>
                  </a:lnTo>
                  <a:cubicBezTo>
                    <a:pt x="26" y="423"/>
                    <a:pt x="52" y="414"/>
                    <a:pt x="76" y="400"/>
                  </a:cubicBezTo>
                  <a:cubicBezTo>
                    <a:pt x="179" y="341"/>
                    <a:pt x="214" y="209"/>
                    <a:pt x="155" y="105"/>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2" name="Freeform 53">
              <a:extLst>
                <a:ext uri="{FF2B5EF4-FFF2-40B4-BE49-F238E27FC236}">
                  <a16:creationId xmlns:a16="http://schemas.microsoft.com/office/drawing/2014/main" id="{23684031-1862-514F-A810-0384C6F11497}"/>
                </a:ext>
              </a:extLst>
            </p:cNvPr>
            <p:cNvSpPr>
              <a:spLocks noChangeArrowheads="1"/>
            </p:cNvSpPr>
            <p:nvPr/>
          </p:nvSpPr>
          <p:spPr bwMode="auto">
            <a:xfrm>
              <a:off x="3892550" y="2281238"/>
              <a:ext cx="423863" cy="192087"/>
            </a:xfrm>
            <a:custGeom>
              <a:avLst/>
              <a:gdLst>
                <a:gd name="T0" fmla="*/ 1116 w 1176"/>
                <a:gd name="T1" fmla="*/ 139 h 535"/>
                <a:gd name="T2" fmla="*/ 821 w 1176"/>
                <a:gd name="T3" fmla="*/ 60 h 535"/>
                <a:gd name="T4" fmla="*/ 0 w 1176"/>
                <a:gd name="T5" fmla="*/ 534 h 535"/>
                <a:gd name="T6" fmla="*/ 864 w 1176"/>
                <a:gd name="T7" fmla="*/ 534 h 535"/>
                <a:gd name="T8" fmla="*/ 1037 w 1176"/>
                <a:gd name="T9" fmla="*/ 434 h 535"/>
                <a:gd name="T10" fmla="*/ 1116 w 1176"/>
                <a:gd name="T11" fmla="*/ 139 h 535"/>
              </a:gdLst>
              <a:ahLst/>
              <a:cxnLst>
                <a:cxn ang="0">
                  <a:pos x="T0" y="T1"/>
                </a:cxn>
                <a:cxn ang="0">
                  <a:pos x="T2" y="T3"/>
                </a:cxn>
                <a:cxn ang="0">
                  <a:pos x="T4" y="T5"/>
                </a:cxn>
                <a:cxn ang="0">
                  <a:pos x="T6" y="T7"/>
                </a:cxn>
                <a:cxn ang="0">
                  <a:pos x="T8" y="T9"/>
                </a:cxn>
                <a:cxn ang="0">
                  <a:pos x="T10" y="T11"/>
                </a:cxn>
              </a:cxnLst>
              <a:rect l="0" t="0" r="r" b="b"/>
              <a:pathLst>
                <a:path w="1176" h="535">
                  <a:moveTo>
                    <a:pt x="1116" y="139"/>
                  </a:moveTo>
                  <a:cubicBezTo>
                    <a:pt x="1056" y="35"/>
                    <a:pt x="924" y="0"/>
                    <a:pt x="821" y="60"/>
                  </a:cubicBezTo>
                  <a:lnTo>
                    <a:pt x="0" y="534"/>
                  </a:lnTo>
                  <a:lnTo>
                    <a:pt x="864" y="534"/>
                  </a:lnTo>
                  <a:lnTo>
                    <a:pt x="1037" y="434"/>
                  </a:lnTo>
                  <a:cubicBezTo>
                    <a:pt x="1140" y="374"/>
                    <a:pt x="1175" y="242"/>
                    <a:pt x="1116" y="139"/>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3" name="Freeform 54">
              <a:extLst>
                <a:ext uri="{FF2B5EF4-FFF2-40B4-BE49-F238E27FC236}">
                  <a16:creationId xmlns:a16="http://schemas.microsoft.com/office/drawing/2014/main" id="{7208C466-F84D-DB43-9829-BF39CC4CD0AE}"/>
                </a:ext>
              </a:extLst>
            </p:cNvPr>
            <p:cNvSpPr>
              <a:spLocks noChangeArrowheads="1"/>
            </p:cNvSpPr>
            <p:nvPr/>
          </p:nvSpPr>
          <p:spPr bwMode="auto">
            <a:xfrm>
              <a:off x="4327525" y="2182813"/>
              <a:ext cx="93663" cy="155575"/>
            </a:xfrm>
            <a:custGeom>
              <a:avLst/>
              <a:gdLst>
                <a:gd name="T0" fmla="*/ 139 w 258"/>
                <a:gd name="T1" fmla="*/ 29 h 433"/>
                <a:gd name="T2" fmla="*/ 60 w 258"/>
                <a:gd name="T3" fmla="*/ 324 h 433"/>
                <a:gd name="T4" fmla="*/ 247 w 258"/>
                <a:gd name="T5" fmla="*/ 432 h 433"/>
                <a:gd name="T6" fmla="*/ 257 w 258"/>
                <a:gd name="T7" fmla="*/ 432 h 433"/>
                <a:gd name="T8" fmla="*/ 257 w 258"/>
                <a:gd name="T9" fmla="*/ 366 h 433"/>
                <a:gd name="T10" fmla="*/ 247 w 258"/>
                <a:gd name="T11" fmla="*/ 367 h 433"/>
                <a:gd name="T12" fmla="*/ 116 w 258"/>
                <a:gd name="T13" fmla="*/ 291 h 433"/>
                <a:gd name="T14" fmla="*/ 101 w 258"/>
                <a:gd name="T15" fmla="*/ 177 h 433"/>
                <a:gd name="T16" fmla="*/ 171 w 258"/>
                <a:gd name="T17" fmla="*/ 86 h 433"/>
                <a:gd name="T18" fmla="*/ 247 w 258"/>
                <a:gd name="T19" fmla="*/ 66 h 433"/>
                <a:gd name="T20" fmla="*/ 247 w 258"/>
                <a:gd name="T21" fmla="*/ 66 h 433"/>
                <a:gd name="T22" fmla="*/ 257 w 258"/>
                <a:gd name="T23" fmla="*/ 66 h 433"/>
                <a:gd name="T24" fmla="*/ 257 w 258"/>
                <a:gd name="T25" fmla="*/ 0 h 433"/>
                <a:gd name="T26" fmla="*/ 247 w 258"/>
                <a:gd name="T27" fmla="*/ 0 h 433"/>
                <a:gd name="T28" fmla="*/ 139 w 258"/>
                <a:gd name="T29" fmla="*/ 29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433">
                  <a:moveTo>
                    <a:pt x="139" y="29"/>
                  </a:moveTo>
                  <a:cubicBezTo>
                    <a:pt x="36" y="89"/>
                    <a:pt x="0" y="221"/>
                    <a:pt x="60" y="324"/>
                  </a:cubicBezTo>
                  <a:cubicBezTo>
                    <a:pt x="100" y="393"/>
                    <a:pt x="172" y="432"/>
                    <a:pt x="247" y="432"/>
                  </a:cubicBezTo>
                  <a:cubicBezTo>
                    <a:pt x="250" y="432"/>
                    <a:pt x="253" y="432"/>
                    <a:pt x="257" y="432"/>
                  </a:cubicBezTo>
                  <a:lnTo>
                    <a:pt x="257" y="366"/>
                  </a:lnTo>
                  <a:cubicBezTo>
                    <a:pt x="253" y="367"/>
                    <a:pt x="250" y="367"/>
                    <a:pt x="247" y="367"/>
                  </a:cubicBezTo>
                  <a:cubicBezTo>
                    <a:pt x="193" y="367"/>
                    <a:pt x="143" y="338"/>
                    <a:pt x="116" y="291"/>
                  </a:cubicBezTo>
                  <a:cubicBezTo>
                    <a:pt x="96" y="257"/>
                    <a:pt x="90" y="216"/>
                    <a:pt x="101" y="177"/>
                  </a:cubicBezTo>
                  <a:cubicBezTo>
                    <a:pt x="111" y="138"/>
                    <a:pt x="137" y="106"/>
                    <a:pt x="171" y="86"/>
                  </a:cubicBezTo>
                  <a:cubicBezTo>
                    <a:pt x="194" y="73"/>
                    <a:pt x="220" y="66"/>
                    <a:pt x="247" y="66"/>
                  </a:cubicBezTo>
                  <a:lnTo>
                    <a:pt x="247" y="66"/>
                  </a:lnTo>
                  <a:cubicBezTo>
                    <a:pt x="250" y="66"/>
                    <a:pt x="253" y="66"/>
                    <a:pt x="257" y="66"/>
                  </a:cubicBezTo>
                  <a:lnTo>
                    <a:pt x="257" y="0"/>
                  </a:lnTo>
                  <a:cubicBezTo>
                    <a:pt x="253" y="0"/>
                    <a:pt x="250" y="0"/>
                    <a:pt x="247" y="0"/>
                  </a:cubicBezTo>
                  <a:cubicBezTo>
                    <a:pt x="210" y="0"/>
                    <a:pt x="173" y="9"/>
                    <a:pt x="139" y="29"/>
                  </a:cubicBezTo>
                </a:path>
              </a:pathLst>
            </a:custGeom>
            <a:solidFill>
              <a:schemeClr val="accent5">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3676425215"/>
      </p:ext>
    </p:extLst>
  </p:cSld>
  <p:clrMapOvr>
    <a:masterClrMapping/>
  </p:clrMapOvr>
  <p:extLst>
    <p:ext uri="{DCECCB84-F9BA-43D5-87BE-67443E8EF086}">
      <p15:sldGuideLst xmlns:p15="http://schemas.microsoft.com/office/powerpoint/2012/main">
        <p15:guide id="1" orient="horz" pos="3703">
          <p15:clr>
            <a:srgbClr val="FBAE40"/>
          </p15:clr>
        </p15:guide>
        <p15:guide id="2" pos="442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amp; stats v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6" name="Footer Placeholder 5"/>
          <p:cNvSpPr>
            <a:spLocks noGrp="1"/>
          </p:cNvSpPr>
          <p:nvPr>
            <p:ph type="ftr" sz="quarter" idx="11"/>
          </p:nvPr>
        </p:nvSpPr>
        <p:spPr/>
        <p:txBody>
          <a:bodyPr/>
          <a:lstStyle/>
          <a:p>
            <a:r>
              <a:rPr lang="en-GB" noProof="0" dirty="0"/>
              <a:t>© Colt Technology Services  |  Presentation title here</a:t>
            </a:r>
          </a:p>
        </p:txBody>
      </p:sp>
      <p:sp>
        <p:nvSpPr>
          <p:cNvPr id="7" name="Slide Number Placeholder 6"/>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dirty="0"/>
          </a:p>
        </p:txBody>
      </p:sp>
      <p:sp>
        <p:nvSpPr>
          <p:cNvPr id="10" name="Content Placeholder 9">
            <a:extLst>
              <a:ext uri="{FF2B5EF4-FFF2-40B4-BE49-F238E27FC236}">
                <a16:creationId xmlns:a16="http://schemas.microsoft.com/office/drawing/2014/main" id="{4C8574F6-DC41-4E64-8E1A-15B6A848557A}"/>
              </a:ext>
            </a:extLst>
          </p:cNvPr>
          <p:cNvSpPr>
            <a:spLocks noGrp="1"/>
          </p:cNvSpPr>
          <p:nvPr>
            <p:ph sz="quarter" idx="13"/>
          </p:nvPr>
        </p:nvSpPr>
        <p:spPr>
          <a:xfrm>
            <a:off x="468000" y="1354138"/>
            <a:ext cx="3754800" cy="482123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Content Placeholder 11">
            <a:extLst>
              <a:ext uri="{FF2B5EF4-FFF2-40B4-BE49-F238E27FC236}">
                <a16:creationId xmlns:a16="http://schemas.microsoft.com/office/drawing/2014/main" id="{B9A15E7A-9B88-4C4F-AE30-95F67A884612}"/>
              </a:ext>
            </a:extLst>
          </p:cNvPr>
          <p:cNvSpPr>
            <a:spLocks noGrp="1"/>
          </p:cNvSpPr>
          <p:nvPr>
            <p:ph sz="quarter" idx="14"/>
          </p:nvPr>
        </p:nvSpPr>
        <p:spPr>
          <a:xfrm>
            <a:off x="4687200" y="1354138"/>
            <a:ext cx="3754800" cy="4821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Content Placeholder 13">
            <a:extLst>
              <a:ext uri="{FF2B5EF4-FFF2-40B4-BE49-F238E27FC236}">
                <a16:creationId xmlns:a16="http://schemas.microsoft.com/office/drawing/2014/main" id="{A2D69BA6-1D74-4DBF-BB10-49BCF51B0B20}"/>
              </a:ext>
            </a:extLst>
          </p:cNvPr>
          <p:cNvSpPr>
            <a:spLocks noGrp="1"/>
          </p:cNvSpPr>
          <p:nvPr>
            <p:ph sz="quarter" idx="15"/>
          </p:nvPr>
        </p:nvSpPr>
        <p:spPr>
          <a:xfrm>
            <a:off x="9378000" y="1354138"/>
            <a:ext cx="1861200" cy="4821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50682176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Agenda v2">
    <p:spTree>
      <p:nvGrpSpPr>
        <p:cNvPr id="1" name=""/>
        <p:cNvGrpSpPr/>
        <p:nvPr/>
      </p:nvGrpSpPr>
      <p:grpSpPr>
        <a:xfrm>
          <a:off x="0" y="0"/>
          <a:ext cx="0" cy="0"/>
          <a:chOff x="0" y="0"/>
          <a:chExt cx="0" cy="0"/>
        </a:xfrm>
      </p:grpSpPr>
      <p:sp>
        <p:nvSpPr>
          <p:cNvPr id="17" name="Freeform 127">
            <a:extLst>
              <a:ext uri="{FF2B5EF4-FFF2-40B4-BE49-F238E27FC236}">
                <a16:creationId xmlns:a16="http://schemas.microsoft.com/office/drawing/2014/main" id="{2334FA42-3F37-7D41-9B93-9D5CC58BA250}"/>
              </a:ext>
            </a:extLst>
          </p:cNvPr>
          <p:cNvSpPr>
            <a:spLocks noChangeArrowheads="1"/>
          </p:cNvSpPr>
          <p:nvPr userDrawn="1"/>
        </p:nvSpPr>
        <p:spPr bwMode="auto">
          <a:xfrm>
            <a:off x="5250952" y="-14297"/>
            <a:ext cx="6980147" cy="6476144"/>
          </a:xfrm>
          <a:custGeom>
            <a:avLst/>
            <a:gdLst>
              <a:gd name="T0" fmla="*/ 60 w 522"/>
              <a:gd name="T1" fmla="*/ 516 h 655"/>
              <a:gd name="T2" fmla="*/ 355 w 522"/>
              <a:gd name="T3" fmla="*/ 595 h 655"/>
              <a:gd name="T4" fmla="*/ 521 w 522"/>
              <a:gd name="T5" fmla="*/ 499 h 655"/>
              <a:gd name="T6" fmla="*/ 521 w 522"/>
              <a:gd name="T7" fmla="*/ 0 h 655"/>
              <a:gd name="T8" fmla="*/ 139 w 522"/>
              <a:gd name="T9" fmla="*/ 221 h 655"/>
              <a:gd name="T10" fmla="*/ 60 w 522"/>
              <a:gd name="T11" fmla="*/ 516 h 655"/>
              <a:gd name="connsiteX0" fmla="*/ 557 w 9389"/>
              <a:gd name="connsiteY0" fmla="*/ 7878 h 9521"/>
              <a:gd name="connsiteX1" fmla="*/ 6209 w 9389"/>
              <a:gd name="connsiteY1" fmla="*/ 9084 h 9521"/>
              <a:gd name="connsiteX2" fmla="*/ 8706 w 9389"/>
              <a:gd name="connsiteY2" fmla="*/ 7936 h 9521"/>
              <a:gd name="connsiteX3" fmla="*/ 9389 w 9389"/>
              <a:gd name="connsiteY3" fmla="*/ 0 h 9521"/>
              <a:gd name="connsiteX4" fmla="*/ 2071 w 9389"/>
              <a:gd name="connsiteY4" fmla="*/ 3374 h 9521"/>
              <a:gd name="connsiteX5" fmla="*/ 557 w 9389"/>
              <a:gd name="connsiteY5" fmla="*/ 7878 h 9521"/>
              <a:gd name="connsiteX0" fmla="*/ 485 w 9892"/>
              <a:gd name="connsiteY0" fmla="*/ 8274 h 9999"/>
              <a:gd name="connsiteX1" fmla="*/ 6505 w 9892"/>
              <a:gd name="connsiteY1" fmla="*/ 9541 h 9999"/>
              <a:gd name="connsiteX2" fmla="*/ 9165 w 9892"/>
              <a:gd name="connsiteY2" fmla="*/ 8335 h 9999"/>
              <a:gd name="connsiteX3" fmla="*/ 9892 w 9892"/>
              <a:gd name="connsiteY3" fmla="*/ 0 h 9999"/>
              <a:gd name="connsiteX4" fmla="*/ 2602 w 9892"/>
              <a:gd name="connsiteY4" fmla="*/ 3337 h 9999"/>
              <a:gd name="connsiteX5" fmla="*/ 485 w 9892"/>
              <a:gd name="connsiteY5" fmla="*/ 8274 h 9999"/>
              <a:gd name="connsiteX0" fmla="*/ 640 w 10150"/>
              <a:gd name="connsiteY0" fmla="*/ 8275 h 10000"/>
              <a:gd name="connsiteX1" fmla="*/ 6726 w 10150"/>
              <a:gd name="connsiteY1" fmla="*/ 9542 h 10000"/>
              <a:gd name="connsiteX2" fmla="*/ 9415 w 10150"/>
              <a:gd name="connsiteY2" fmla="*/ 8336 h 10000"/>
              <a:gd name="connsiteX3" fmla="*/ 10150 w 10150"/>
              <a:gd name="connsiteY3" fmla="*/ 0 h 10000"/>
              <a:gd name="connsiteX4" fmla="*/ 2780 w 10150"/>
              <a:gd name="connsiteY4" fmla="*/ 3337 h 10000"/>
              <a:gd name="connsiteX5" fmla="*/ 640 w 10150"/>
              <a:gd name="connsiteY5" fmla="*/ 8275 h 10000"/>
              <a:gd name="connsiteX0" fmla="*/ 640 w 9483"/>
              <a:gd name="connsiteY0" fmla="*/ 5023 h 6748"/>
              <a:gd name="connsiteX1" fmla="*/ 6726 w 9483"/>
              <a:gd name="connsiteY1" fmla="*/ 6290 h 6748"/>
              <a:gd name="connsiteX2" fmla="*/ 9415 w 9483"/>
              <a:gd name="connsiteY2" fmla="*/ 5084 h 6748"/>
              <a:gd name="connsiteX3" fmla="*/ 9399 w 9483"/>
              <a:gd name="connsiteY3" fmla="*/ 0 h 6748"/>
              <a:gd name="connsiteX4" fmla="*/ 2780 w 9483"/>
              <a:gd name="connsiteY4" fmla="*/ 85 h 6748"/>
              <a:gd name="connsiteX5" fmla="*/ 640 w 9483"/>
              <a:gd name="connsiteY5" fmla="*/ 5023 h 6748"/>
              <a:gd name="connsiteX0" fmla="*/ 675 w 10018"/>
              <a:gd name="connsiteY0" fmla="*/ 7444 h 10001"/>
              <a:gd name="connsiteX1" fmla="*/ 7093 w 10018"/>
              <a:gd name="connsiteY1" fmla="*/ 9321 h 10001"/>
              <a:gd name="connsiteX2" fmla="*/ 9928 w 10018"/>
              <a:gd name="connsiteY2" fmla="*/ 7534 h 10001"/>
              <a:gd name="connsiteX3" fmla="*/ 9911 w 10018"/>
              <a:gd name="connsiteY3" fmla="*/ 0 h 10001"/>
              <a:gd name="connsiteX4" fmla="*/ 2932 w 10018"/>
              <a:gd name="connsiteY4" fmla="*/ 126 h 10001"/>
              <a:gd name="connsiteX5" fmla="*/ 675 w 10018"/>
              <a:gd name="connsiteY5" fmla="*/ 7444 h 10001"/>
              <a:gd name="connsiteX0" fmla="*/ 675 w 9928"/>
              <a:gd name="connsiteY0" fmla="*/ 7444 h 10001"/>
              <a:gd name="connsiteX1" fmla="*/ 7093 w 9928"/>
              <a:gd name="connsiteY1" fmla="*/ 9321 h 10001"/>
              <a:gd name="connsiteX2" fmla="*/ 9928 w 9928"/>
              <a:gd name="connsiteY2" fmla="*/ 7534 h 10001"/>
              <a:gd name="connsiteX3" fmla="*/ 9911 w 9928"/>
              <a:gd name="connsiteY3" fmla="*/ 0 h 10001"/>
              <a:gd name="connsiteX4" fmla="*/ 2932 w 9928"/>
              <a:gd name="connsiteY4" fmla="*/ 126 h 10001"/>
              <a:gd name="connsiteX5" fmla="*/ 675 w 9928"/>
              <a:gd name="connsiteY5" fmla="*/ 7444 h 10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928" h="10001">
                <a:moveTo>
                  <a:pt x="675" y="7444"/>
                </a:moveTo>
                <a:cubicBezTo>
                  <a:pt x="1981" y="9890"/>
                  <a:pt x="4853" y="10723"/>
                  <a:pt x="7093" y="9321"/>
                </a:cubicBezTo>
                <a:lnTo>
                  <a:pt x="9928" y="7534"/>
                </a:lnTo>
                <a:cubicBezTo>
                  <a:pt x="9933" y="3264"/>
                  <a:pt x="9793" y="4117"/>
                  <a:pt x="9911" y="0"/>
                </a:cubicBezTo>
                <a:lnTo>
                  <a:pt x="2932" y="126"/>
                </a:lnTo>
                <a:cubicBezTo>
                  <a:pt x="-130" y="1989"/>
                  <a:pt x="-630" y="4972"/>
                  <a:pt x="675" y="7444"/>
                </a:cubicBezTo>
              </a:path>
            </a:pathLst>
          </a:custGeom>
          <a:solidFill>
            <a:schemeClr val="bg2">
              <a:alpha val="40000"/>
            </a:schemeClr>
          </a:solidFill>
          <a:ln>
            <a:noFill/>
          </a:ln>
          <a:effectLst/>
        </p:spPr>
        <p:txBody>
          <a:bodyPr wrap="none" anchor="ctr"/>
          <a:lstStyle/>
          <a:p>
            <a:endParaRPr dirty="0"/>
          </a:p>
        </p:txBody>
      </p:sp>
      <p:grpSp>
        <p:nvGrpSpPr>
          <p:cNvPr id="10" name="Group 9">
            <a:extLst>
              <a:ext uri="{FF2B5EF4-FFF2-40B4-BE49-F238E27FC236}">
                <a16:creationId xmlns:a16="http://schemas.microsoft.com/office/drawing/2014/main" id="{84CAF8C3-1789-7A44-8103-09B3F80F11AB}"/>
              </a:ext>
            </a:extLst>
          </p:cNvPr>
          <p:cNvGrpSpPr/>
          <p:nvPr userDrawn="1"/>
        </p:nvGrpSpPr>
        <p:grpSpPr>
          <a:xfrm>
            <a:off x="-1" y="1436343"/>
            <a:ext cx="12192001" cy="5015609"/>
            <a:chOff x="1260475" y="7055521"/>
            <a:chExt cx="1028700" cy="423192"/>
          </a:xfrm>
        </p:grpSpPr>
        <p:sp>
          <p:nvSpPr>
            <p:cNvPr id="11" name="Freeform 121">
              <a:extLst>
                <a:ext uri="{FF2B5EF4-FFF2-40B4-BE49-F238E27FC236}">
                  <a16:creationId xmlns:a16="http://schemas.microsoft.com/office/drawing/2014/main" id="{38C7E40C-00BD-EB40-AC8B-393B465727D1}"/>
                </a:ext>
              </a:extLst>
            </p:cNvPr>
            <p:cNvSpPr>
              <a:spLocks noChangeArrowheads="1"/>
            </p:cNvSpPr>
            <p:nvPr/>
          </p:nvSpPr>
          <p:spPr bwMode="auto">
            <a:xfrm>
              <a:off x="1608138" y="7146925"/>
              <a:ext cx="38100" cy="61913"/>
            </a:xfrm>
            <a:custGeom>
              <a:avLst/>
              <a:gdLst>
                <a:gd name="T0" fmla="*/ 99 w 107"/>
                <a:gd name="T1" fmla="*/ 171 h 172"/>
                <a:gd name="T2" fmla="*/ 82 w 107"/>
                <a:gd name="T3" fmla="*/ 67 h 172"/>
                <a:gd name="T4" fmla="*/ 0 w 107"/>
                <a:gd name="T5" fmla="*/ 0 h 172"/>
                <a:gd name="T6" fmla="*/ 29 w 107"/>
                <a:gd name="T7" fmla="*/ 98 h 172"/>
                <a:gd name="T8" fmla="*/ 99 w 107"/>
                <a:gd name="T9" fmla="*/ 171 h 172"/>
              </a:gdLst>
              <a:ahLst/>
              <a:cxnLst>
                <a:cxn ang="0">
                  <a:pos x="T0" y="T1"/>
                </a:cxn>
                <a:cxn ang="0">
                  <a:pos x="T2" y="T3"/>
                </a:cxn>
                <a:cxn ang="0">
                  <a:pos x="T4" y="T5"/>
                </a:cxn>
                <a:cxn ang="0">
                  <a:pos x="T6" y="T7"/>
                </a:cxn>
                <a:cxn ang="0">
                  <a:pos x="T8" y="T9"/>
                </a:cxn>
              </a:cxnLst>
              <a:rect l="0" t="0" r="r" b="b"/>
              <a:pathLst>
                <a:path w="107" h="172">
                  <a:moveTo>
                    <a:pt x="99" y="171"/>
                  </a:moveTo>
                  <a:cubicBezTo>
                    <a:pt x="106" y="137"/>
                    <a:pt x="101" y="100"/>
                    <a:pt x="82" y="67"/>
                  </a:cubicBezTo>
                  <a:cubicBezTo>
                    <a:pt x="63" y="35"/>
                    <a:pt x="34" y="12"/>
                    <a:pt x="0" y="0"/>
                  </a:cubicBezTo>
                  <a:cubicBezTo>
                    <a:pt x="2" y="33"/>
                    <a:pt x="11" y="67"/>
                    <a:pt x="29" y="98"/>
                  </a:cubicBezTo>
                  <a:cubicBezTo>
                    <a:pt x="47" y="129"/>
                    <a:pt x="71" y="153"/>
                    <a:pt x="99" y="171"/>
                  </a:cubicBezTo>
                </a:path>
              </a:pathLst>
            </a:custGeom>
            <a:solidFill>
              <a:schemeClr val="accent4">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2" name="Freeform 122">
              <a:extLst>
                <a:ext uri="{FF2B5EF4-FFF2-40B4-BE49-F238E27FC236}">
                  <a16:creationId xmlns:a16="http://schemas.microsoft.com/office/drawing/2014/main" id="{B4D45C76-BC1F-4244-BBEC-AF087930BC78}"/>
                </a:ext>
              </a:extLst>
            </p:cNvPr>
            <p:cNvSpPr>
              <a:spLocks noChangeArrowheads="1"/>
            </p:cNvSpPr>
            <p:nvPr/>
          </p:nvSpPr>
          <p:spPr bwMode="auto">
            <a:xfrm>
              <a:off x="1609054" y="7055521"/>
              <a:ext cx="165100" cy="169863"/>
            </a:xfrm>
            <a:custGeom>
              <a:avLst/>
              <a:gdLst>
                <a:gd name="T0" fmla="*/ 101 w 457"/>
                <a:gd name="T1" fmla="*/ 60 h 471"/>
                <a:gd name="T2" fmla="*/ 0 w 457"/>
                <a:gd name="T3" fmla="*/ 191 h 471"/>
                <a:gd name="T4" fmla="*/ 131 w 457"/>
                <a:gd name="T5" fmla="*/ 292 h 471"/>
                <a:gd name="T6" fmla="*/ 153 w 457"/>
                <a:gd name="T7" fmla="*/ 455 h 471"/>
                <a:gd name="T8" fmla="*/ 317 w 457"/>
                <a:gd name="T9" fmla="*/ 434 h 471"/>
                <a:gd name="T10" fmla="*/ 396 w 457"/>
                <a:gd name="T11" fmla="*/ 139 h 471"/>
                <a:gd name="T12" fmla="*/ 101 w 457"/>
                <a:gd name="T13" fmla="*/ 60 h 471"/>
              </a:gdLst>
              <a:ahLst/>
              <a:cxnLst>
                <a:cxn ang="0">
                  <a:pos x="T0" y="T1"/>
                </a:cxn>
                <a:cxn ang="0">
                  <a:pos x="T2" y="T3"/>
                </a:cxn>
                <a:cxn ang="0">
                  <a:pos x="T4" y="T5"/>
                </a:cxn>
                <a:cxn ang="0">
                  <a:pos x="T6" y="T7"/>
                </a:cxn>
                <a:cxn ang="0">
                  <a:pos x="T8" y="T9"/>
                </a:cxn>
                <a:cxn ang="0">
                  <a:pos x="T10" y="T11"/>
                </a:cxn>
                <a:cxn ang="0">
                  <a:pos x="T12" y="T13"/>
                </a:cxn>
              </a:cxnLst>
              <a:rect l="0" t="0" r="r" b="b"/>
              <a:pathLst>
                <a:path w="457" h="471">
                  <a:moveTo>
                    <a:pt x="101" y="60"/>
                  </a:moveTo>
                  <a:cubicBezTo>
                    <a:pt x="49" y="90"/>
                    <a:pt x="15" y="138"/>
                    <a:pt x="0" y="191"/>
                  </a:cubicBezTo>
                  <a:cubicBezTo>
                    <a:pt x="54" y="205"/>
                    <a:pt x="101" y="241"/>
                    <a:pt x="131" y="292"/>
                  </a:cubicBezTo>
                  <a:cubicBezTo>
                    <a:pt x="160" y="344"/>
                    <a:pt x="167" y="402"/>
                    <a:pt x="153" y="455"/>
                  </a:cubicBezTo>
                  <a:cubicBezTo>
                    <a:pt x="206" y="470"/>
                    <a:pt x="265" y="464"/>
                    <a:pt x="317" y="434"/>
                  </a:cubicBezTo>
                  <a:cubicBezTo>
                    <a:pt x="420" y="374"/>
                    <a:pt x="456" y="242"/>
                    <a:pt x="396" y="139"/>
                  </a:cubicBezTo>
                  <a:cubicBezTo>
                    <a:pt x="336" y="36"/>
                    <a:pt x="204" y="0"/>
                    <a:pt x="101" y="60"/>
                  </a:cubicBezTo>
                </a:path>
              </a:pathLst>
            </a:custGeom>
            <a:solidFill>
              <a:schemeClr val="accent4">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123">
              <a:extLst>
                <a:ext uri="{FF2B5EF4-FFF2-40B4-BE49-F238E27FC236}">
                  <a16:creationId xmlns:a16="http://schemas.microsoft.com/office/drawing/2014/main" id="{B0631155-4AC7-8C40-A610-CDEC269D6719}"/>
                </a:ext>
              </a:extLst>
            </p:cNvPr>
            <p:cNvSpPr>
              <a:spLocks noChangeArrowheads="1"/>
            </p:cNvSpPr>
            <p:nvPr/>
          </p:nvSpPr>
          <p:spPr bwMode="auto">
            <a:xfrm>
              <a:off x="1260475" y="7219950"/>
              <a:ext cx="228600" cy="258763"/>
            </a:xfrm>
            <a:custGeom>
              <a:avLst/>
              <a:gdLst>
                <a:gd name="T0" fmla="*/ 572 w 633"/>
                <a:gd name="T1" fmla="*/ 139 h 719"/>
                <a:gd name="T2" fmla="*/ 277 w 633"/>
                <a:gd name="T3" fmla="*/ 60 h 719"/>
                <a:gd name="T4" fmla="*/ 0 w 633"/>
                <a:gd name="T5" fmla="*/ 219 h 719"/>
                <a:gd name="T6" fmla="*/ 0 w 633"/>
                <a:gd name="T7" fmla="*/ 718 h 719"/>
                <a:gd name="T8" fmla="*/ 493 w 633"/>
                <a:gd name="T9" fmla="*/ 434 h 719"/>
                <a:gd name="T10" fmla="*/ 572 w 633"/>
                <a:gd name="T11" fmla="*/ 139 h 719"/>
              </a:gdLst>
              <a:ahLst/>
              <a:cxnLst>
                <a:cxn ang="0">
                  <a:pos x="T0" y="T1"/>
                </a:cxn>
                <a:cxn ang="0">
                  <a:pos x="T2" y="T3"/>
                </a:cxn>
                <a:cxn ang="0">
                  <a:pos x="T4" y="T5"/>
                </a:cxn>
                <a:cxn ang="0">
                  <a:pos x="T6" y="T7"/>
                </a:cxn>
                <a:cxn ang="0">
                  <a:pos x="T8" y="T9"/>
                </a:cxn>
                <a:cxn ang="0">
                  <a:pos x="T10" y="T11"/>
                </a:cxn>
              </a:cxnLst>
              <a:rect l="0" t="0" r="r" b="b"/>
              <a:pathLst>
                <a:path w="633" h="719">
                  <a:moveTo>
                    <a:pt x="572" y="139"/>
                  </a:moveTo>
                  <a:cubicBezTo>
                    <a:pt x="512" y="35"/>
                    <a:pt x="380" y="0"/>
                    <a:pt x="277" y="60"/>
                  </a:cubicBezTo>
                  <a:lnTo>
                    <a:pt x="0" y="219"/>
                  </a:lnTo>
                  <a:lnTo>
                    <a:pt x="0" y="718"/>
                  </a:lnTo>
                  <a:lnTo>
                    <a:pt x="493" y="434"/>
                  </a:lnTo>
                  <a:cubicBezTo>
                    <a:pt x="596" y="374"/>
                    <a:pt x="632" y="242"/>
                    <a:pt x="572" y="139"/>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4" name="Freeform 124">
              <a:extLst>
                <a:ext uri="{FF2B5EF4-FFF2-40B4-BE49-F238E27FC236}">
                  <a16:creationId xmlns:a16="http://schemas.microsoft.com/office/drawing/2014/main" id="{99E1113B-809E-2449-9066-7BB1CAC596E9}"/>
                </a:ext>
              </a:extLst>
            </p:cNvPr>
            <p:cNvSpPr>
              <a:spLocks noChangeArrowheads="1"/>
            </p:cNvSpPr>
            <p:nvPr/>
          </p:nvSpPr>
          <p:spPr bwMode="auto">
            <a:xfrm>
              <a:off x="1501775" y="7121525"/>
              <a:ext cx="163513" cy="155575"/>
            </a:xfrm>
            <a:custGeom>
              <a:avLst/>
              <a:gdLst>
                <a:gd name="T0" fmla="*/ 322 w 456"/>
                <a:gd name="T1" fmla="*/ 346 h 432"/>
                <a:gd name="T2" fmla="*/ 247 w 456"/>
                <a:gd name="T3" fmla="*/ 366 h 432"/>
                <a:gd name="T4" fmla="*/ 116 w 456"/>
                <a:gd name="T5" fmla="*/ 291 h 432"/>
                <a:gd name="T6" fmla="*/ 101 w 456"/>
                <a:gd name="T7" fmla="*/ 177 h 432"/>
                <a:gd name="T8" fmla="*/ 171 w 456"/>
                <a:gd name="T9" fmla="*/ 85 h 432"/>
                <a:gd name="T10" fmla="*/ 246 w 456"/>
                <a:gd name="T11" fmla="*/ 65 h 432"/>
                <a:gd name="T12" fmla="*/ 246 w 456"/>
                <a:gd name="T13" fmla="*/ 65 h 432"/>
                <a:gd name="T14" fmla="*/ 295 w 456"/>
                <a:gd name="T15" fmla="*/ 73 h 432"/>
                <a:gd name="T16" fmla="*/ 302 w 456"/>
                <a:gd name="T17" fmla="*/ 7 h 432"/>
                <a:gd name="T18" fmla="*/ 246 w 456"/>
                <a:gd name="T19" fmla="*/ 0 h 432"/>
                <a:gd name="T20" fmla="*/ 139 w 456"/>
                <a:gd name="T21" fmla="*/ 29 h 432"/>
                <a:gd name="T22" fmla="*/ 59 w 456"/>
                <a:gd name="T23" fmla="*/ 323 h 432"/>
                <a:gd name="T24" fmla="*/ 247 w 456"/>
                <a:gd name="T25" fmla="*/ 431 h 432"/>
                <a:gd name="T26" fmla="*/ 354 w 456"/>
                <a:gd name="T27" fmla="*/ 403 h 432"/>
                <a:gd name="T28" fmla="*/ 455 w 456"/>
                <a:gd name="T29" fmla="*/ 271 h 432"/>
                <a:gd name="T30" fmla="*/ 394 w 456"/>
                <a:gd name="T31" fmla="*/ 244 h 432"/>
                <a:gd name="T32" fmla="*/ 322 w 456"/>
                <a:gd name="T33" fmla="*/ 346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6" h="432">
                  <a:moveTo>
                    <a:pt x="322" y="346"/>
                  </a:moveTo>
                  <a:cubicBezTo>
                    <a:pt x="299" y="359"/>
                    <a:pt x="273" y="366"/>
                    <a:pt x="247" y="366"/>
                  </a:cubicBezTo>
                  <a:cubicBezTo>
                    <a:pt x="193" y="366"/>
                    <a:pt x="143" y="337"/>
                    <a:pt x="116" y="291"/>
                  </a:cubicBezTo>
                  <a:cubicBezTo>
                    <a:pt x="96" y="256"/>
                    <a:pt x="91" y="216"/>
                    <a:pt x="101" y="177"/>
                  </a:cubicBezTo>
                  <a:cubicBezTo>
                    <a:pt x="111" y="139"/>
                    <a:pt x="136" y="105"/>
                    <a:pt x="171" y="85"/>
                  </a:cubicBezTo>
                  <a:cubicBezTo>
                    <a:pt x="194" y="72"/>
                    <a:pt x="220" y="65"/>
                    <a:pt x="246" y="65"/>
                  </a:cubicBezTo>
                  <a:lnTo>
                    <a:pt x="246" y="65"/>
                  </a:lnTo>
                  <a:cubicBezTo>
                    <a:pt x="263" y="65"/>
                    <a:pt x="280" y="68"/>
                    <a:pt x="295" y="73"/>
                  </a:cubicBezTo>
                  <a:cubicBezTo>
                    <a:pt x="294" y="51"/>
                    <a:pt x="297" y="28"/>
                    <a:pt x="302" y="7"/>
                  </a:cubicBezTo>
                  <a:cubicBezTo>
                    <a:pt x="284" y="2"/>
                    <a:pt x="265" y="0"/>
                    <a:pt x="246" y="0"/>
                  </a:cubicBezTo>
                  <a:cubicBezTo>
                    <a:pt x="210" y="0"/>
                    <a:pt x="173" y="9"/>
                    <a:pt x="139" y="29"/>
                  </a:cubicBezTo>
                  <a:cubicBezTo>
                    <a:pt x="35" y="88"/>
                    <a:pt x="0" y="220"/>
                    <a:pt x="59" y="323"/>
                  </a:cubicBezTo>
                  <a:cubicBezTo>
                    <a:pt x="99" y="393"/>
                    <a:pt x="172" y="431"/>
                    <a:pt x="247" y="431"/>
                  </a:cubicBezTo>
                  <a:cubicBezTo>
                    <a:pt x="283" y="431"/>
                    <a:pt x="320" y="422"/>
                    <a:pt x="354" y="403"/>
                  </a:cubicBezTo>
                  <a:cubicBezTo>
                    <a:pt x="406" y="373"/>
                    <a:pt x="441" y="325"/>
                    <a:pt x="455" y="271"/>
                  </a:cubicBezTo>
                  <a:cubicBezTo>
                    <a:pt x="434" y="266"/>
                    <a:pt x="413" y="257"/>
                    <a:pt x="394" y="244"/>
                  </a:cubicBezTo>
                  <a:cubicBezTo>
                    <a:pt x="386" y="286"/>
                    <a:pt x="361" y="323"/>
                    <a:pt x="322" y="346"/>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5" name="Freeform 125">
              <a:extLst>
                <a:ext uri="{FF2B5EF4-FFF2-40B4-BE49-F238E27FC236}">
                  <a16:creationId xmlns:a16="http://schemas.microsoft.com/office/drawing/2014/main" id="{C93947C7-00AB-2144-AD3A-3A9277526DC6}"/>
                </a:ext>
              </a:extLst>
            </p:cNvPr>
            <p:cNvSpPr>
              <a:spLocks noChangeArrowheads="1"/>
            </p:cNvSpPr>
            <p:nvPr/>
          </p:nvSpPr>
          <p:spPr bwMode="auto">
            <a:xfrm>
              <a:off x="1606550" y="7124455"/>
              <a:ext cx="63500" cy="95250"/>
            </a:xfrm>
            <a:custGeom>
              <a:avLst/>
              <a:gdLst>
                <a:gd name="T0" fmla="*/ 139 w 176"/>
                <a:gd name="T1" fmla="*/ 101 h 265"/>
                <a:gd name="T2" fmla="*/ 8 w 176"/>
                <a:gd name="T3" fmla="*/ 0 h 265"/>
                <a:gd name="T4" fmla="*/ 1 w 176"/>
                <a:gd name="T5" fmla="*/ 66 h 265"/>
                <a:gd name="T6" fmla="*/ 83 w 176"/>
                <a:gd name="T7" fmla="*/ 133 h 265"/>
                <a:gd name="T8" fmla="*/ 100 w 176"/>
                <a:gd name="T9" fmla="*/ 237 h 265"/>
                <a:gd name="T10" fmla="*/ 161 w 176"/>
                <a:gd name="T11" fmla="*/ 264 h 265"/>
                <a:gd name="T12" fmla="*/ 139 w 176"/>
                <a:gd name="T13" fmla="*/ 101 h 265"/>
              </a:gdLst>
              <a:ahLst/>
              <a:cxnLst>
                <a:cxn ang="0">
                  <a:pos x="T0" y="T1"/>
                </a:cxn>
                <a:cxn ang="0">
                  <a:pos x="T2" y="T3"/>
                </a:cxn>
                <a:cxn ang="0">
                  <a:pos x="T4" y="T5"/>
                </a:cxn>
                <a:cxn ang="0">
                  <a:pos x="T6" y="T7"/>
                </a:cxn>
                <a:cxn ang="0">
                  <a:pos x="T8" y="T9"/>
                </a:cxn>
                <a:cxn ang="0">
                  <a:pos x="T10" y="T11"/>
                </a:cxn>
                <a:cxn ang="0">
                  <a:pos x="T12" y="T13"/>
                </a:cxn>
              </a:cxnLst>
              <a:rect l="0" t="0" r="r" b="b"/>
              <a:pathLst>
                <a:path w="176" h="265">
                  <a:moveTo>
                    <a:pt x="139" y="101"/>
                  </a:moveTo>
                  <a:cubicBezTo>
                    <a:pt x="110" y="49"/>
                    <a:pt x="62" y="14"/>
                    <a:pt x="8" y="0"/>
                  </a:cubicBezTo>
                  <a:cubicBezTo>
                    <a:pt x="3" y="21"/>
                    <a:pt x="0" y="44"/>
                    <a:pt x="1" y="66"/>
                  </a:cubicBezTo>
                  <a:cubicBezTo>
                    <a:pt x="35" y="78"/>
                    <a:pt x="65" y="101"/>
                    <a:pt x="83" y="133"/>
                  </a:cubicBezTo>
                  <a:cubicBezTo>
                    <a:pt x="102" y="166"/>
                    <a:pt x="107" y="203"/>
                    <a:pt x="100" y="237"/>
                  </a:cubicBezTo>
                  <a:cubicBezTo>
                    <a:pt x="119" y="250"/>
                    <a:pt x="140" y="259"/>
                    <a:pt x="161" y="264"/>
                  </a:cubicBezTo>
                  <a:cubicBezTo>
                    <a:pt x="175" y="211"/>
                    <a:pt x="169" y="152"/>
                    <a:pt x="139" y="101"/>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6" name="Freeform 127">
              <a:extLst>
                <a:ext uri="{FF2B5EF4-FFF2-40B4-BE49-F238E27FC236}">
                  <a16:creationId xmlns:a16="http://schemas.microsoft.com/office/drawing/2014/main" id="{469EBB4B-E7C4-F64D-97FF-FBB568B49023}"/>
                </a:ext>
              </a:extLst>
            </p:cNvPr>
            <p:cNvSpPr>
              <a:spLocks noChangeArrowheads="1"/>
            </p:cNvSpPr>
            <p:nvPr/>
          </p:nvSpPr>
          <p:spPr bwMode="auto">
            <a:xfrm>
              <a:off x="2101850" y="7213600"/>
              <a:ext cx="187325" cy="236538"/>
            </a:xfrm>
            <a:custGeom>
              <a:avLst/>
              <a:gdLst>
                <a:gd name="T0" fmla="*/ 60 w 522"/>
                <a:gd name="T1" fmla="*/ 516 h 655"/>
                <a:gd name="T2" fmla="*/ 355 w 522"/>
                <a:gd name="T3" fmla="*/ 595 h 655"/>
                <a:gd name="T4" fmla="*/ 521 w 522"/>
                <a:gd name="T5" fmla="*/ 499 h 655"/>
                <a:gd name="T6" fmla="*/ 521 w 522"/>
                <a:gd name="T7" fmla="*/ 0 h 655"/>
                <a:gd name="T8" fmla="*/ 139 w 522"/>
                <a:gd name="T9" fmla="*/ 221 h 655"/>
                <a:gd name="T10" fmla="*/ 60 w 522"/>
                <a:gd name="T11" fmla="*/ 516 h 655"/>
              </a:gdLst>
              <a:ahLst/>
              <a:cxnLst>
                <a:cxn ang="0">
                  <a:pos x="T0" y="T1"/>
                </a:cxn>
                <a:cxn ang="0">
                  <a:pos x="T2" y="T3"/>
                </a:cxn>
                <a:cxn ang="0">
                  <a:pos x="T4" y="T5"/>
                </a:cxn>
                <a:cxn ang="0">
                  <a:pos x="T6" y="T7"/>
                </a:cxn>
                <a:cxn ang="0">
                  <a:pos x="T8" y="T9"/>
                </a:cxn>
                <a:cxn ang="0">
                  <a:pos x="T10" y="T11"/>
                </a:cxn>
              </a:cxnLst>
              <a:rect l="0" t="0" r="r" b="b"/>
              <a:pathLst>
                <a:path w="522" h="655">
                  <a:moveTo>
                    <a:pt x="60" y="516"/>
                  </a:moveTo>
                  <a:cubicBezTo>
                    <a:pt x="120" y="619"/>
                    <a:pt x="252" y="654"/>
                    <a:pt x="355" y="595"/>
                  </a:cubicBezTo>
                  <a:lnTo>
                    <a:pt x="521" y="499"/>
                  </a:lnTo>
                  <a:lnTo>
                    <a:pt x="521" y="0"/>
                  </a:lnTo>
                  <a:lnTo>
                    <a:pt x="139" y="221"/>
                  </a:lnTo>
                  <a:cubicBezTo>
                    <a:pt x="36" y="280"/>
                    <a:pt x="0" y="412"/>
                    <a:pt x="60" y="516"/>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
        <p:nvSpPr>
          <p:cNvPr id="2" name="Title 1"/>
          <p:cNvSpPr>
            <a:spLocks noGrp="1"/>
          </p:cNvSpPr>
          <p:nvPr>
            <p:ph type="title"/>
          </p:nvPr>
        </p:nvSpPr>
        <p:spPr>
          <a:xfrm>
            <a:off x="468000" y="1224000"/>
            <a:ext cx="5158800" cy="2271600"/>
          </a:xfrm>
        </p:spPr>
        <p:txBody>
          <a:bodyPr/>
          <a:lstStyle>
            <a:lvl1pPr>
              <a:lnSpc>
                <a:spcPts val="6800"/>
              </a:lnSpc>
              <a:defRPr sz="5890"/>
            </a:lvl1pPr>
          </a:lstStyle>
          <a:p>
            <a:r>
              <a:rPr lang="en-US" noProof="0" dirty="0"/>
              <a:t>Click to edit Master title style</a:t>
            </a:r>
            <a:endParaRPr lang="en-GB" noProof="0" dirty="0"/>
          </a:p>
        </p:txBody>
      </p:sp>
      <p:sp>
        <p:nvSpPr>
          <p:cNvPr id="3" name="Content Placeholder 2"/>
          <p:cNvSpPr>
            <a:spLocks noGrp="1"/>
          </p:cNvSpPr>
          <p:nvPr>
            <p:ph idx="1"/>
          </p:nvPr>
        </p:nvSpPr>
        <p:spPr>
          <a:xfrm>
            <a:off x="6935788" y="1359725"/>
            <a:ext cx="3849812" cy="4219200"/>
          </a:xfrm>
        </p:spPr>
        <p:txBody>
          <a:bodyPr/>
          <a:lstStyle>
            <a:lvl1pPr marL="0" indent="0">
              <a:lnSpc>
                <a:spcPts val="2530"/>
              </a:lnSpc>
              <a:spcAft>
                <a:spcPts val="850"/>
              </a:spcAft>
              <a:buClr>
                <a:schemeClr val="accent4"/>
              </a:buClr>
              <a:buFont typeface="Wingdings" panose="05000000000000000000" pitchFamily="2" charset="2"/>
              <a:buNone/>
              <a:defRPr sz="2170">
                <a:solidFill>
                  <a:schemeClr val="accent4"/>
                </a:solidFill>
              </a:defRPr>
            </a:lvl1pPr>
          </a:lstStyle>
          <a:p>
            <a:pPr lvl="0"/>
            <a:r>
              <a:rPr lang="en-US" noProof="0" dirty="0"/>
              <a:t>Click to edit Master text styles</a:t>
            </a:r>
            <a:endParaRPr lang="en-GB" noProof="0" dirty="0"/>
          </a:p>
        </p:txBody>
      </p:sp>
      <p:sp>
        <p:nvSpPr>
          <p:cNvPr id="7" name="Date Placeholder 6">
            <a:extLst>
              <a:ext uri="{FF2B5EF4-FFF2-40B4-BE49-F238E27FC236}">
                <a16:creationId xmlns:a16="http://schemas.microsoft.com/office/drawing/2014/main" id="{78688919-E234-42AA-92AE-3C26DD2F4227}"/>
              </a:ext>
            </a:extLst>
          </p:cNvPr>
          <p:cNvSpPr>
            <a:spLocks noGrp="1"/>
          </p:cNvSpPr>
          <p:nvPr>
            <p:ph type="dt" sz="half" idx="10"/>
          </p:nvPr>
        </p:nvSpPr>
        <p:spPr/>
        <p:txBody>
          <a:bodyPr/>
          <a:lstStyle/>
          <a:p>
            <a:fld id="{2DE83E90-B912-47DA-975D-5D461BF326D1}" type="datetime3">
              <a:rPr lang="en-US" noProof="0" smtClean="0"/>
              <a:t>22 December 2023</a:t>
            </a:fld>
            <a:endParaRPr lang="en-GB" noProof="0" dirty="0"/>
          </a:p>
        </p:txBody>
      </p:sp>
      <p:sp>
        <p:nvSpPr>
          <p:cNvPr id="8" name="Footer Placeholder 7">
            <a:extLst>
              <a:ext uri="{FF2B5EF4-FFF2-40B4-BE49-F238E27FC236}">
                <a16:creationId xmlns:a16="http://schemas.microsoft.com/office/drawing/2014/main" id="{84C93AF6-C1DC-4BAF-A2C6-2C711470C1EA}"/>
              </a:ext>
            </a:extLst>
          </p:cNvPr>
          <p:cNvSpPr>
            <a:spLocks noGrp="1"/>
          </p:cNvSpPr>
          <p:nvPr>
            <p:ph type="ftr" sz="quarter" idx="11"/>
          </p:nvPr>
        </p:nvSpPr>
        <p:spPr/>
        <p:txBody>
          <a:bodyPr/>
          <a:lstStyle/>
          <a:p>
            <a:r>
              <a:rPr lang="en-GB" noProof="0" dirty="0"/>
              <a:t>© Colt Technology Services  |  Presentation title here</a:t>
            </a:r>
          </a:p>
        </p:txBody>
      </p:sp>
      <p:sp>
        <p:nvSpPr>
          <p:cNvPr id="9" name="Slide Number Placeholder 8">
            <a:extLst>
              <a:ext uri="{FF2B5EF4-FFF2-40B4-BE49-F238E27FC236}">
                <a16:creationId xmlns:a16="http://schemas.microsoft.com/office/drawing/2014/main" id="{A950F5AD-6CA0-4A01-B76E-2C5F74AB978F}"/>
              </a:ext>
            </a:extLst>
          </p:cNvPr>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dirty="0"/>
          </a:p>
        </p:txBody>
      </p:sp>
    </p:spTree>
    <p:extLst>
      <p:ext uri="{BB962C8B-B14F-4D97-AF65-F5344CB8AC3E}">
        <p14:creationId xmlns:p14="http://schemas.microsoft.com/office/powerpoint/2010/main" val="3778053743"/>
      </p:ext>
    </p:extLst>
  </p:cSld>
  <p:clrMapOvr>
    <a:masterClrMapping/>
  </p:clrMapOvr>
  <p:extLst>
    <p:ext uri="{DCECCB84-F9BA-43D5-87BE-67443E8EF086}">
      <p15:sldGuideLst xmlns:p15="http://schemas.microsoft.com/office/powerpoint/2012/main">
        <p15:guide id="1" pos="4369" userDrawn="1">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Pullout &amp; text large v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sz="half" idx="1"/>
          </p:nvPr>
        </p:nvSpPr>
        <p:spPr>
          <a:xfrm>
            <a:off x="468000" y="1224000"/>
            <a:ext cx="5158800" cy="4925376"/>
          </a:xfrm>
        </p:spPr>
        <p:txBody>
          <a:bodyPr/>
          <a:lstStyle>
            <a:lvl1pPr>
              <a:lnSpc>
                <a:spcPts val="6800"/>
              </a:lnSpc>
              <a:defRPr sz="5890">
                <a:solidFill>
                  <a:schemeClr val="accent4"/>
                </a:solidFill>
              </a:defRPr>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noProof="0" dirty="0"/>
              <a:t>Click to edit Master text styles</a:t>
            </a:r>
            <a:endParaRPr lang="en-GB" noProof="0" dirty="0"/>
          </a:p>
        </p:txBody>
      </p:sp>
      <p:sp>
        <p:nvSpPr>
          <p:cNvPr id="4" name="Content Placeholder 3"/>
          <p:cNvSpPr>
            <a:spLocks noGrp="1"/>
          </p:cNvSpPr>
          <p:nvPr>
            <p:ph sz="half" idx="2"/>
          </p:nvPr>
        </p:nvSpPr>
        <p:spPr>
          <a:xfrm>
            <a:off x="6566400" y="1368749"/>
            <a:ext cx="5158800" cy="4806626"/>
          </a:xfrm>
        </p:spPr>
        <p:txBody>
          <a:bodyPr vert="horz" lIns="0" tIns="0" rIns="0" bIns="0" rtlCol="0" anchor="t" anchorCtr="0">
            <a:noAutofit/>
          </a:bodyPr>
          <a:lstStyle>
            <a:lvl1pPr>
              <a:spcAft>
                <a:spcPts val="1800"/>
              </a:spcAft>
              <a:defRPr lang="en-US" noProof="0" dirty="0" smtClean="0">
                <a:solidFill>
                  <a:schemeClr val="accent4"/>
                </a:solidFill>
              </a:defRPr>
            </a:lvl1pPr>
            <a:lvl2pPr>
              <a:spcAft>
                <a:spcPts val="1800"/>
              </a:spcAft>
              <a:defRPr lang="en-US" noProof="0" dirty="0" smtClean="0"/>
            </a:lvl2pPr>
            <a:lvl3pPr>
              <a:defRPr lang="en-US" noProof="0" dirty="0" smtClean="0"/>
            </a:lvl3pPr>
            <a:lvl4pPr>
              <a:defRPr lang="en-US" noProof="0" dirty="0" smtClean="0"/>
            </a:lvl4pPr>
            <a:lvl5pPr>
              <a:defRPr lang="en-GB" noProof="0" dirty="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5" name="Date Placeholder 4"/>
          <p:cNvSpPr>
            <a:spLocks noGrp="1"/>
          </p:cNvSpPr>
          <p:nvPr>
            <p:ph type="dt" sz="half" idx="10"/>
          </p:nvPr>
        </p:nvSpPr>
        <p:spPr/>
        <p:txBody>
          <a:bodyPr/>
          <a:lstStyle/>
          <a:p>
            <a:fld id="{7703E8F5-19F9-453D-B01A-500B01858F6E}" type="datetime3">
              <a:rPr lang="en-US" noProof="0" smtClean="0"/>
              <a:t>22 December 2023</a:t>
            </a:fld>
            <a:endParaRPr lang="en-GB" noProof="0" dirty="0"/>
          </a:p>
        </p:txBody>
      </p:sp>
      <p:sp>
        <p:nvSpPr>
          <p:cNvPr id="6" name="Footer Placeholder 5"/>
          <p:cNvSpPr>
            <a:spLocks noGrp="1"/>
          </p:cNvSpPr>
          <p:nvPr>
            <p:ph type="ftr" sz="quarter" idx="11"/>
          </p:nvPr>
        </p:nvSpPr>
        <p:spPr/>
        <p:txBody>
          <a:bodyPr/>
          <a:lstStyle/>
          <a:p>
            <a:r>
              <a:rPr lang="en-GB" noProof="0" dirty="0"/>
              <a:t>© Colt Technology Services  |  Presentation title here</a:t>
            </a:r>
          </a:p>
        </p:txBody>
      </p:sp>
      <p:sp>
        <p:nvSpPr>
          <p:cNvPr id="7" name="Slide Number Placeholder 6"/>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dirty="0"/>
          </a:p>
        </p:txBody>
      </p:sp>
    </p:spTree>
    <p:extLst>
      <p:ext uri="{BB962C8B-B14F-4D97-AF65-F5344CB8AC3E}">
        <p14:creationId xmlns:p14="http://schemas.microsoft.com/office/powerpoint/2010/main" val="42009274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Pullout &amp; text small v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sz="half" idx="1"/>
          </p:nvPr>
        </p:nvSpPr>
        <p:spPr>
          <a:xfrm>
            <a:off x="468000" y="1332000"/>
            <a:ext cx="5158800" cy="4844988"/>
          </a:xfrm>
        </p:spPr>
        <p:txBody>
          <a:bodyPr/>
          <a:lstStyle>
            <a:lvl1pPr>
              <a:lnSpc>
                <a:spcPts val="3620"/>
              </a:lnSpc>
              <a:defRPr sz="2990">
                <a:solidFill>
                  <a:schemeClr val="accent4"/>
                </a:solidFill>
              </a:defRPr>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noProof="0" dirty="0"/>
              <a:t>Click to edit Master text styles</a:t>
            </a:r>
            <a:endParaRPr lang="en-GB" noProof="0" dirty="0"/>
          </a:p>
        </p:txBody>
      </p:sp>
      <p:sp>
        <p:nvSpPr>
          <p:cNvPr id="4" name="Content Placeholder 3"/>
          <p:cNvSpPr>
            <a:spLocks noGrp="1"/>
          </p:cNvSpPr>
          <p:nvPr>
            <p:ph sz="half" idx="2"/>
          </p:nvPr>
        </p:nvSpPr>
        <p:spPr>
          <a:xfrm>
            <a:off x="6566400" y="1368749"/>
            <a:ext cx="4690800" cy="4806626"/>
          </a:xfrm>
        </p:spPr>
        <p:txBody>
          <a:bodyPr vert="horz" lIns="0" tIns="0" rIns="0" bIns="0" rtlCol="0" anchor="t" anchorCtr="0">
            <a:noAutofit/>
          </a:bodyPr>
          <a:lstStyle>
            <a:lvl1pPr>
              <a:spcAft>
                <a:spcPts val="1800"/>
              </a:spcAft>
              <a:defRPr lang="en-US" noProof="0" dirty="0" smtClean="0">
                <a:solidFill>
                  <a:schemeClr val="accent4"/>
                </a:solidFill>
              </a:defRPr>
            </a:lvl1pPr>
            <a:lvl2pPr>
              <a:spcAft>
                <a:spcPts val="1800"/>
              </a:spcAft>
              <a:defRPr lang="en-US" noProof="0" dirty="0" smtClean="0"/>
            </a:lvl2pPr>
            <a:lvl3pPr>
              <a:defRPr lang="en-US" noProof="0" dirty="0" smtClean="0"/>
            </a:lvl3pPr>
            <a:lvl4pPr>
              <a:defRPr lang="en-US" noProof="0" dirty="0" smtClean="0"/>
            </a:lvl4pPr>
            <a:lvl5pPr>
              <a:defRPr lang="en-GB" noProof="0" dirty="0"/>
            </a:lvl5pPr>
            <a:lvl6pPr>
              <a:defRPr sz="1800"/>
            </a:lvl6pPr>
            <a:lvl7pPr>
              <a:defRPr sz="1800"/>
            </a:lvl7pPr>
            <a:lvl8pPr>
              <a:defRPr sz="1800"/>
            </a:lvl8pPr>
            <a:lvl9pPr>
              <a:defRPr sz="18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6" name="Footer Placeholder 5"/>
          <p:cNvSpPr>
            <a:spLocks noGrp="1"/>
          </p:cNvSpPr>
          <p:nvPr>
            <p:ph type="ftr" sz="quarter" idx="11"/>
          </p:nvPr>
        </p:nvSpPr>
        <p:spPr/>
        <p:txBody>
          <a:bodyPr/>
          <a:lstStyle/>
          <a:p>
            <a:r>
              <a:rPr lang="en-GB" noProof="0" dirty="0"/>
              <a:t>© Colt Technology Services  |  Presentation title here</a:t>
            </a:r>
          </a:p>
        </p:txBody>
      </p:sp>
      <p:sp>
        <p:nvSpPr>
          <p:cNvPr id="7" name="Slide Number Placeholder 6"/>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dirty="0"/>
          </a:p>
        </p:txBody>
      </p:sp>
    </p:spTree>
    <p:extLst>
      <p:ext uri="{BB962C8B-B14F-4D97-AF65-F5344CB8AC3E}">
        <p14:creationId xmlns:p14="http://schemas.microsoft.com/office/powerpoint/2010/main" val="390547787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xt &amp; stats v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6" name="Footer Placeholder 5"/>
          <p:cNvSpPr>
            <a:spLocks noGrp="1"/>
          </p:cNvSpPr>
          <p:nvPr>
            <p:ph type="ftr" sz="quarter" idx="11"/>
          </p:nvPr>
        </p:nvSpPr>
        <p:spPr/>
        <p:txBody>
          <a:bodyPr/>
          <a:lstStyle/>
          <a:p>
            <a:r>
              <a:rPr lang="en-GB" noProof="0" dirty="0"/>
              <a:t>© Colt Technology Services  |  Presentation title here</a:t>
            </a:r>
          </a:p>
        </p:txBody>
      </p:sp>
      <p:sp>
        <p:nvSpPr>
          <p:cNvPr id="7" name="Slide Number Placeholder 6"/>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dirty="0"/>
          </a:p>
        </p:txBody>
      </p:sp>
      <p:sp>
        <p:nvSpPr>
          <p:cNvPr id="10" name="Content Placeholder 9">
            <a:extLst>
              <a:ext uri="{FF2B5EF4-FFF2-40B4-BE49-F238E27FC236}">
                <a16:creationId xmlns:a16="http://schemas.microsoft.com/office/drawing/2014/main" id="{4C8574F6-DC41-4E64-8E1A-15B6A848557A}"/>
              </a:ext>
            </a:extLst>
          </p:cNvPr>
          <p:cNvSpPr>
            <a:spLocks noGrp="1"/>
          </p:cNvSpPr>
          <p:nvPr>
            <p:ph sz="quarter" idx="13"/>
          </p:nvPr>
        </p:nvSpPr>
        <p:spPr>
          <a:xfrm>
            <a:off x="468000" y="1354138"/>
            <a:ext cx="3754800" cy="4821237"/>
          </a:xfrm>
        </p:spPr>
        <p:txBody>
          <a:bodyPr/>
          <a:lstStyle>
            <a:lvl1pPr>
              <a:defRPr>
                <a:solidFill>
                  <a:schemeClr val="accent4"/>
                </a:solidFill>
              </a:defRPr>
            </a:lvl1pPr>
            <a:lvl3pPr>
              <a:defRPr>
                <a:solidFill>
                  <a:schemeClr val="accent3"/>
                </a:solidFill>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Content Placeholder 11">
            <a:extLst>
              <a:ext uri="{FF2B5EF4-FFF2-40B4-BE49-F238E27FC236}">
                <a16:creationId xmlns:a16="http://schemas.microsoft.com/office/drawing/2014/main" id="{B9A15E7A-9B88-4C4F-AE30-95F67A884612}"/>
              </a:ext>
            </a:extLst>
          </p:cNvPr>
          <p:cNvSpPr>
            <a:spLocks noGrp="1"/>
          </p:cNvSpPr>
          <p:nvPr>
            <p:ph sz="quarter" idx="14"/>
          </p:nvPr>
        </p:nvSpPr>
        <p:spPr>
          <a:xfrm>
            <a:off x="4687200" y="1354138"/>
            <a:ext cx="3754800" cy="4821237"/>
          </a:xfrm>
        </p:spPr>
        <p:txBody>
          <a:bodyPr/>
          <a:lstStyle>
            <a:lvl1pPr>
              <a:defRPr>
                <a:solidFill>
                  <a:schemeClr val="accent4"/>
                </a:solidFill>
              </a:defRPr>
            </a:lvl1pPr>
            <a:lvl3pPr>
              <a:defRPr>
                <a:solidFill>
                  <a:schemeClr val="accent3"/>
                </a:solidFill>
              </a:defRPr>
            </a:lvl3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13">
            <a:extLst>
              <a:ext uri="{FF2B5EF4-FFF2-40B4-BE49-F238E27FC236}">
                <a16:creationId xmlns:a16="http://schemas.microsoft.com/office/drawing/2014/main" id="{A2D69BA6-1D74-4DBF-BB10-49BCF51B0B20}"/>
              </a:ext>
            </a:extLst>
          </p:cNvPr>
          <p:cNvSpPr>
            <a:spLocks noGrp="1"/>
          </p:cNvSpPr>
          <p:nvPr>
            <p:ph sz="quarter" idx="15"/>
          </p:nvPr>
        </p:nvSpPr>
        <p:spPr>
          <a:xfrm>
            <a:off x="9378000" y="1354138"/>
            <a:ext cx="1861200" cy="4821237"/>
          </a:xfrm>
        </p:spPr>
        <p:txBody>
          <a:bodyPr/>
          <a:lstStyle>
            <a:lvl1pPr>
              <a:defRPr>
                <a:solidFill>
                  <a:schemeClr val="accent3"/>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98579873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 image">
    <p:spTree>
      <p:nvGrpSpPr>
        <p:cNvPr id="1" name=""/>
        <p:cNvGrpSpPr/>
        <p:nvPr/>
      </p:nvGrpSpPr>
      <p:grpSpPr>
        <a:xfrm>
          <a:off x="0" y="0"/>
          <a:ext cx="0" cy="0"/>
          <a:chOff x="0" y="0"/>
          <a:chExt cx="0" cy="0"/>
        </a:xfrm>
      </p:grpSpPr>
      <p:sp>
        <p:nvSpPr>
          <p:cNvPr id="2" name="Title 1"/>
          <p:cNvSpPr>
            <a:spLocks noGrp="1"/>
          </p:cNvSpPr>
          <p:nvPr>
            <p:ph type="title"/>
          </p:nvPr>
        </p:nvSpPr>
        <p:spPr>
          <a:xfrm>
            <a:off x="471600" y="457200"/>
            <a:ext cx="5299200" cy="896938"/>
          </a:xfrm>
        </p:spPr>
        <p:txBody>
          <a:bodyPr/>
          <a:lstStyle/>
          <a:p>
            <a:r>
              <a:rPr lang="en-US" noProof="0" dirty="0"/>
              <a:t>Click to edit Master title style</a:t>
            </a:r>
            <a:endParaRPr lang="en-GB" noProof="0" dirty="0"/>
          </a:p>
        </p:txBody>
      </p:sp>
      <p:sp>
        <p:nvSpPr>
          <p:cNvPr id="6" name="Footer Placeholder 5"/>
          <p:cNvSpPr>
            <a:spLocks noGrp="1"/>
          </p:cNvSpPr>
          <p:nvPr>
            <p:ph type="ftr" sz="quarter" idx="11"/>
          </p:nvPr>
        </p:nvSpPr>
        <p:spPr/>
        <p:txBody>
          <a:bodyPr/>
          <a:lstStyle/>
          <a:p>
            <a:r>
              <a:rPr lang="en-GB" noProof="0" dirty="0"/>
              <a:t>© Colt Technology Services  |  Presentation title here</a:t>
            </a:r>
          </a:p>
        </p:txBody>
      </p:sp>
      <p:sp>
        <p:nvSpPr>
          <p:cNvPr id="7" name="Slide Number Placeholder 6"/>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dirty="0"/>
          </a:p>
        </p:txBody>
      </p:sp>
      <p:sp>
        <p:nvSpPr>
          <p:cNvPr id="8" name="Content Placeholder 7">
            <a:extLst>
              <a:ext uri="{FF2B5EF4-FFF2-40B4-BE49-F238E27FC236}">
                <a16:creationId xmlns:a16="http://schemas.microsoft.com/office/drawing/2014/main" id="{DB577C63-7884-406D-A269-3B7C1C3AAF74}"/>
              </a:ext>
            </a:extLst>
          </p:cNvPr>
          <p:cNvSpPr>
            <a:spLocks noGrp="1"/>
          </p:cNvSpPr>
          <p:nvPr>
            <p:ph sz="quarter" idx="13"/>
          </p:nvPr>
        </p:nvSpPr>
        <p:spPr>
          <a:xfrm>
            <a:off x="468000" y="1354138"/>
            <a:ext cx="4104000" cy="4821237"/>
          </a:xfrm>
        </p:spPr>
        <p:txBody>
          <a:bodyPr/>
          <a:lstStyle>
            <a:lvl1pPr>
              <a:lnSpc>
                <a:spcPts val="2290"/>
              </a:lnSpc>
              <a:spcAft>
                <a:spcPts val="1940"/>
              </a:spcAft>
              <a:defRPr sz="1940"/>
            </a:lvl1pPr>
            <a:lvl2pPr>
              <a:lnSpc>
                <a:spcPts val="2290"/>
              </a:lnSpc>
              <a:spcAft>
                <a:spcPts val="1940"/>
              </a:spcAft>
              <a:defRPr sz="1940"/>
            </a:lvl2pPr>
            <a:lvl3pPr>
              <a:lnSpc>
                <a:spcPts val="1760"/>
              </a:lnSpc>
              <a:spcAft>
                <a:spcPts val="283"/>
              </a:spcAft>
              <a:defRPr sz="1410"/>
            </a:lvl3pPr>
            <a:lvl4pPr>
              <a:lnSpc>
                <a:spcPts val="1760"/>
              </a:lnSpc>
              <a:spcAft>
                <a:spcPts val="567"/>
              </a:spcAft>
              <a:defRPr sz="1410"/>
            </a:lvl4pPr>
            <a:lvl5pPr>
              <a:lnSpc>
                <a:spcPts val="1760"/>
              </a:lnSpc>
              <a:defRPr sz="141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Picture Placeholder 9">
            <a:extLst>
              <a:ext uri="{FF2B5EF4-FFF2-40B4-BE49-F238E27FC236}">
                <a16:creationId xmlns:a16="http://schemas.microsoft.com/office/drawing/2014/main" id="{78197322-D7FA-408C-A0C4-BF46DABA7259}"/>
              </a:ext>
            </a:extLst>
          </p:cNvPr>
          <p:cNvSpPr>
            <a:spLocks noGrp="1"/>
          </p:cNvSpPr>
          <p:nvPr>
            <p:ph type="pic" sz="quarter" idx="14"/>
          </p:nvPr>
        </p:nvSpPr>
        <p:spPr>
          <a:xfrm>
            <a:off x="5774400" y="457200"/>
            <a:ext cx="5943600" cy="5943600"/>
          </a:xfrm>
          <a:prstGeom prst="ellipse">
            <a:avLst/>
          </a:prstGeom>
          <a:solidFill>
            <a:schemeClr val="accent1">
              <a:alpha val="15000"/>
            </a:schemeClr>
          </a:solidFill>
        </p:spPr>
        <p:txBody>
          <a:bodyPr/>
          <a:lstStyle>
            <a:lvl1pPr algn="ctr">
              <a:defRPr/>
            </a:lvl1pPr>
          </a:lstStyle>
          <a:p>
            <a:endParaRPr lang="en-GB" dirty="0"/>
          </a:p>
        </p:txBody>
      </p:sp>
    </p:spTree>
    <p:extLst>
      <p:ext uri="{BB962C8B-B14F-4D97-AF65-F5344CB8AC3E}">
        <p14:creationId xmlns:p14="http://schemas.microsoft.com/office/powerpoint/2010/main" val="41563732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 image">
    <p:spTree>
      <p:nvGrpSpPr>
        <p:cNvPr id="1" name=""/>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EE305B53-48B4-42B8-8B37-FBD05A465604}"/>
              </a:ext>
            </a:extLst>
          </p:cNvPr>
          <p:cNvSpPr>
            <a:spLocks noGrp="1"/>
          </p:cNvSpPr>
          <p:nvPr>
            <p:ph type="pic" sz="quarter" idx="19"/>
          </p:nvPr>
        </p:nvSpPr>
        <p:spPr>
          <a:xfrm>
            <a:off x="5623200" y="-11873"/>
            <a:ext cx="6569090" cy="6869874"/>
          </a:xfrm>
          <a:custGeom>
            <a:avLst/>
            <a:gdLst>
              <a:gd name="connsiteX0" fmla="*/ 6563422 w 6569090"/>
              <a:gd name="connsiteY0" fmla="*/ 0 h 6869874"/>
              <a:gd name="connsiteX1" fmla="*/ 6568813 w 6569090"/>
              <a:gd name="connsiteY1" fmla="*/ 3429020 h 6869874"/>
              <a:gd name="connsiteX2" fmla="*/ 6563424 w 6569090"/>
              <a:gd name="connsiteY2" fmla="*/ 6869874 h 6869874"/>
              <a:gd name="connsiteX3" fmla="*/ 5598102 w 6569090"/>
              <a:gd name="connsiteY3" fmla="*/ 6863247 h 6869874"/>
              <a:gd name="connsiteX4" fmla="*/ 5593432 w 6569090"/>
              <a:gd name="connsiteY4" fmla="*/ 6869873 h 6869874"/>
              <a:gd name="connsiteX5" fmla="*/ 694321 w 6569090"/>
              <a:gd name="connsiteY5" fmla="*/ 6869873 h 6869874"/>
              <a:gd name="connsiteX6" fmla="*/ 536925 w 6569090"/>
              <a:gd name="connsiteY6" fmla="*/ 6646564 h 6869874"/>
              <a:gd name="connsiteX7" fmla="*/ 0 w 6569090"/>
              <a:gd name="connsiteY7" fmla="*/ 4781674 h 6869874"/>
              <a:gd name="connsiteX8" fmla="*/ 1144079 w 6569090"/>
              <a:gd name="connsiteY8" fmla="*/ 2207868 h 6869874"/>
              <a:gd name="connsiteX9" fmla="*/ 1295043 w 6569090"/>
              <a:gd name="connsiteY9" fmla="*/ 2088100 h 6869874"/>
              <a:gd name="connsiteX10" fmla="*/ 1291950 w 6569090"/>
              <a:gd name="connsiteY10" fmla="*/ 2080019 h 6869874"/>
              <a:gd name="connsiteX11" fmla="*/ 4769510 w 6569090"/>
              <a:gd name="connsiteY11" fmla="*/ 7088 h 68698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69090" h="6869874">
                <a:moveTo>
                  <a:pt x="6563422" y="0"/>
                </a:moveTo>
                <a:cubicBezTo>
                  <a:pt x="6565219" y="1143007"/>
                  <a:pt x="6567016" y="2286013"/>
                  <a:pt x="6568813" y="3429020"/>
                </a:cubicBezTo>
                <a:cubicBezTo>
                  <a:pt x="6570796" y="4575972"/>
                  <a:pt x="6561440" y="5722923"/>
                  <a:pt x="6563424" y="6869874"/>
                </a:cubicBezTo>
                <a:lnTo>
                  <a:pt x="5598102" y="6863247"/>
                </a:lnTo>
                <a:lnTo>
                  <a:pt x="5593432" y="6869873"/>
                </a:lnTo>
                <a:lnTo>
                  <a:pt x="694321" y="6869873"/>
                </a:lnTo>
                <a:lnTo>
                  <a:pt x="536925" y="6646564"/>
                </a:lnTo>
                <a:cubicBezTo>
                  <a:pt x="197939" y="6114220"/>
                  <a:pt x="0" y="5472471"/>
                  <a:pt x="0" y="4781674"/>
                </a:cubicBezTo>
                <a:cubicBezTo>
                  <a:pt x="0" y="3745478"/>
                  <a:pt x="445361" y="2819641"/>
                  <a:pt x="1144079" y="2207868"/>
                </a:cubicBezTo>
                <a:lnTo>
                  <a:pt x="1295043" y="2088100"/>
                </a:lnTo>
                <a:lnTo>
                  <a:pt x="1291950" y="2080019"/>
                </a:lnTo>
                <a:cubicBezTo>
                  <a:pt x="2479713" y="1245077"/>
                  <a:pt x="3562699" y="694900"/>
                  <a:pt x="4769510" y="7088"/>
                </a:cubicBezTo>
                <a:close/>
              </a:path>
            </a:pathLst>
          </a:custGeom>
          <a:solidFill>
            <a:schemeClr val="accent1">
              <a:alpha val="15000"/>
            </a:schemeClr>
          </a:solidFill>
          <a:ln>
            <a:noFill/>
          </a:ln>
        </p:spPr>
        <p:txBody>
          <a:bodyPr wrap="square">
            <a:noAutofit/>
          </a:bodyPr>
          <a:lstStyle>
            <a:lvl1pPr algn="r">
              <a:defRPr/>
            </a:lvl1pPr>
          </a:lstStyle>
          <a:p>
            <a:endParaRPr lang="en-GB" dirty="0"/>
          </a:p>
        </p:txBody>
      </p:sp>
      <p:sp>
        <p:nvSpPr>
          <p:cNvPr id="2" name="Title 1"/>
          <p:cNvSpPr>
            <a:spLocks noGrp="1"/>
          </p:cNvSpPr>
          <p:nvPr>
            <p:ph type="ctrTitle"/>
          </p:nvPr>
        </p:nvSpPr>
        <p:spPr>
          <a:xfrm>
            <a:off x="468000" y="457200"/>
            <a:ext cx="5155200" cy="457200"/>
          </a:xfrm>
        </p:spPr>
        <p:txBody>
          <a:bodyPr vert="horz" lIns="0" tIns="0" rIns="0" bIns="0" rtlCol="0" anchor="t" anchorCtr="0">
            <a:noAutofit/>
          </a:bodyPr>
          <a:lstStyle>
            <a:lvl1pPr algn="l">
              <a:lnSpc>
                <a:spcPts val="2120"/>
              </a:lnSpc>
              <a:defRPr lang="en-GB" noProof="0" dirty="0"/>
            </a:lvl1pPr>
          </a:lstStyle>
          <a:p>
            <a:pPr lvl="0"/>
            <a:r>
              <a:rPr lang="en-US" noProof="0" dirty="0"/>
              <a:t>Click to edit Master title style</a:t>
            </a:r>
            <a:endParaRPr lang="en-GB" noProof="0" dirty="0"/>
          </a:p>
        </p:txBody>
      </p:sp>
      <p:sp>
        <p:nvSpPr>
          <p:cNvPr id="6" name="Footer Placeholder 5">
            <a:extLst>
              <a:ext uri="{FF2B5EF4-FFF2-40B4-BE49-F238E27FC236}">
                <a16:creationId xmlns:a16="http://schemas.microsoft.com/office/drawing/2014/main" id="{184F4E7D-A950-4778-8BC5-6A7D69AFC0FB}"/>
              </a:ext>
            </a:extLst>
          </p:cNvPr>
          <p:cNvSpPr>
            <a:spLocks noGrp="1"/>
          </p:cNvSpPr>
          <p:nvPr>
            <p:ph type="ftr" sz="quarter" idx="13"/>
          </p:nvPr>
        </p:nvSpPr>
        <p:spPr/>
        <p:txBody>
          <a:bodyPr/>
          <a:lstStyle/>
          <a:p>
            <a:pPr algn="l">
              <a:lnSpc>
                <a:spcPts val="970"/>
              </a:lnSpc>
            </a:pPr>
            <a:r>
              <a:rPr lang="en-GB" dirty="0"/>
              <a:t>© Colt Technology Services  |  Presentation title here</a:t>
            </a:r>
          </a:p>
        </p:txBody>
      </p:sp>
      <p:sp>
        <p:nvSpPr>
          <p:cNvPr id="10" name="Text Placeholder 9">
            <a:extLst>
              <a:ext uri="{FF2B5EF4-FFF2-40B4-BE49-F238E27FC236}">
                <a16:creationId xmlns:a16="http://schemas.microsoft.com/office/drawing/2014/main" id="{40C6BB52-481B-46AE-9210-2C30607BF2FD}"/>
              </a:ext>
            </a:extLst>
          </p:cNvPr>
          <p:cNvSpPr>
            <a:spLocks noGrp="1"/>
          </p:cNvSpPr>
          <p:nvPr>
            <p:ph type="body" sz="quarter" idx="15"/>
          </p:nvPr>
        </p:nvSpPr>
        <p:spPr>
          <a:xfrm>
            <a:off x="468312" y="1282889"/>
            <a:ext cx="5158800" cy="2873476"/>
          </a:xfrm>
        </p:spPr>
        <p:txBody>
          <a:bodyPr/>
          <a:lstStyle>
            <a:lvl1pPr marL="0" indent="177800">
              <a:lnSpc>
                <a:spcPts val="3600"/>
              </a:lnSpc>
              <a:spcAft>
                <a:spcPts val="0"/>
              </a:spcAft>
              <a:defRPr sz="3000">
                <a:solidFill>
                  <a:schemeClr val="accent2"/>
                </a:solidFill>
              </a:defRPr>
            </a:lvl1pPr>
          </a:lstStyle>
          <a:p>
            <a:pPr lvl="0"/>
            <a:r>
              <a:rPr lang="en-US" dirty="0"/>
              <a:t>Click to edit Master text styles</a:t>
            </a:r>
            <a:endParaRPr lang="en-GB" dirty="0"/>
          </a:p>
        </p:txBody>
      </p:sp>
      <p:sp>
        <p:nvSpPr>
          <p:cNvPr id="7" name="Slide Number Placeholder 6">
            <a:extLst>
              <a:ext uri="{FF2B5EF4-FFF2-40B4-BE49-F238E27FC236}">
                <a16:creationId xmlns:a16="http://schemas.microsoft.com/office/drawing/2014/main" id="{083AA513-3096-463D-86CC-9463654915BB}"/>
              </a:ext>
            </a:extLst>
          </p:cNvPr>
          <p:cNvSpPr>
            <a:spLocks noGrp="1"/>
          </p:cNvSpPr>
          <p:nvPr>
            <p:ph type="sldNum" sz="quarter" idx="14"/>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sp>
        <p:nvSpPr>
          <p:cNvPr id="4" name="Text Placeholder 3">
            <a:extLst>
              <a:ext uri="{FF2B5EF4-FFF2-40B4-BE49-F238E27FC236}">
                <a16:creationId xmlns:a16="http://schemas.microsoft.com/office/drawing/2014/main" id="{BC7AC9B2-F447-4158-9CDD-120879A9E695}"/>
              </a:ext>
            </a:extLst>
          </p:cNvPr>
          <p:cNvSpPr>
            <a:spLocks noGrp="1"/>
          </p:cNvSpPr>
          <p:nvPr>
            <p:ph type="body" sz="quarter" idx="17"/>
          </p:nvPr>
        </p:nvSpPr>
        <p:spPr>
          <a:xfrm>
            <a:off x="468313" y="4294800"/>
            <a:ext cx="3224212" cy="944562"/>
          </a:xfrm>
        </p:spPr>
        <p:txBody>
          <a:bodyPr/>
          <a:lstStyle>
            <a:lvl1pPr>
              <a:lnSpc>
                <a:spcPts val="1760"/>
              </a:lnSpc>
              <a:spcAft>
                <a:spcPts val="0"/>
              </a:spcAft>
              <a:defRPr sz="1410"/>
            </a:lvl1pPr>
            <a:lvl2pPr>
              <a:lnSpc>
                <a:spcPts val="1760"/>
              </a:lnSpc>
              <a:spcAft>
                <a:spcPts val="0"/>
              </a:spcAft>
              <a:defRPr sz="1410">
                <a:solidFill>
                  <a:schemeClr val="accent4"/>
                </a:solidFill>
              </a:defRPr>
            </a:lvl2pPr>
          </a:lstStyle>
          <a:p>
            <a:pPr lvl="0"/>
            <a:r>
              <a:rPr lang="en-US" dirty="0"/>
              <a:t>Click to edit Master text styles</a:t>
            </a:r>
          </a:p>
          <a:p>
            <a:pPr lvl="1"/>
            <a:r>
              <a:rPr lang="en-US" dirty="0"/>
              <a:t>Second level</a:t>
            </a:r>
            <a:endParaRPr lang="en-GB" dirty="0"/>
          </a:p>
        </p:txBody>
      </p:sp>
      <p:pic>
        <p:nvPicPr>
          <p:cNvPr id="11" name="Picture 10">
            <a:extLst>
              <a:ext uri="{FF2B5EF4-FFF2-40B4-BE49-F238E27FC236}">
                <a16:creationId xmlns:a16="http://schemas.microsoft.com/office/drawing/2014/main" id="{E6000531-53F7-4DD6-AEAE-C8C4A09F238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67549" y="1354138"/>
            <a:ext cx="112776" cy="115824"/>
          </a:xfrm>
          <a:prstGeom prst="rect">
            <a:avLst/>
          </a:prstGeom>
        </p:spPr>
      </p:pic>
    </p:spTree>
    <p:extLst>
      <p:ext uri="{BB962C8B-B14F-4D97-AF65-F5344CB8AC3E}">
        <p14:creationId xmlns:p14="http://schemas.microsoft.com/office/powerpoint/2010/main" val="2187931301"/>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6" name="Footer Placeholder 5"/>
          <p:cNvSpPr>
            <a:spLocks noGrp="1"/>
          </p:cNvSpPr>
          <p:nvPr>
            <p:ph type="ftr" sz="quarter" idx="11"/>
          </p:nvPr>
        </p:nvSpPr>
        <p:spPr/>
        <p:txBody>
          <a:bodyPr/>
          <a:lstStyle/>
          <a:p>
            <a:r>
              <a:rPr lang="en-GB" noProof="0" dirty="0"/>
              <a:t>© Colt Technology Services  |  Presentation title here</a:t>
            </a:r>
          </a:p>
        </p:txBody>
      </p:sp>
      <p:sp>
        <p:nvSpPr>
          <p:cNvPr id="7" name="Slide Number Placeholder 6"/>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dirty="0"/>
          </a:p>
        </p:txBody>
      </p:sp>
      <p:sp>
        <p:nvSpPr>
          <p:cNvPr id="10" name="Content Placeholder 9">
            <a:extLst>
              <a:ext uri="{FF2B5EF4-FFF2-40B4-BE49-F238E27FC236}">
                <a16:creationId xmlns:a16="http://schemas.microsoft.com/office/drawing/2014/main" id="{4C8574F6-DC41-4E64-8E1A-15B6A848557A}"/>
              </a:ext>
            </a:extLst>
          </p:cNvPr>
          <p:cNvSpPr>
            <a:spLocks noGrp="1"/>
          </p:cNvSpPr>
          <p:nvPr>
            <p:ph sz="quarter" idx="13"/>
          </p:nvPr>
        </p:nvSpPr>
        <p:spPr>
          <a:xfrm>
            <a:off x="468000" y="3996000"/>
            <a:ext cx="3276000" cy="2178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2" name="Content Placeholder 11">
            <a:extLst>
              <a:ext uri="{FF2B5EF4-FFF2-40B4-BE49-F238E27FC236}">
                <a16:creationId xmlns:a16="http://schemas.microsoft.com/office/drawing/2014/main" id="{B9A15E7A-9B88-4C4F-AE30-95F67A884612}"/>
              </a:ext>
            </a:extLst>
          </p:cNvPr>
          <p:cNvSpPr>
            <a:spLocks noGrp="1"/>
          </p:cNvSpPr>
          <p:nvPr>
            <p:ph sz="quarter" idx="14"/>
          </p:nvPr>
        </p:nvSpPr>
        <p:spPr>
          <a:xfrm>
            <a:off x="4458600" y="3996000"/>
            <a:ext cx="3276000" cy="2178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4" name="Content Placeholder 13">
            <a:extLst>
              <a:ext uri="{FF2B5EF4-FFF2-40B4-BE49-F238E27FC236}">
                <a16:creationId xmlns:a16="http://schemas.microsoft.com/office/drawing/2014/main" id="{A2D69BA6-1D74-4DBF-BB10-49BCF51B0B20}"/>
              </a:ext>
            </a:extLst>
          </p:cNvPr>
          <p:cNvSpPr>
            <a:spLocks noGrp="1"/>
          </p:cNvSpPr>
          <p:nvPr>
            <p:ph sz="quarter" idx="15"/>
          </p:nvPr>
        </p:nvSpPr>
        <p:spPr>
          <a:xfrm>
            <a:off x="8448887" y="3996000"/>
            <a:ext cx="3276000" cy="2178000"/>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Picture Placeholder 3">
            <a:extLst>
              <a:ext uri="{FF2B5EF4-FFF2-40B4-BE49-F238E27FC236}">
                <a16:creationId xmlns:a16="http://schemas.microsoft.com/office/drawing/2014/main" id="{98C70832-F451-457E-AB1D-8ADA581BA112}"/>
              </a:ext>
            </a:extLst>
          </p:cNvPr>
          <p:cNvSpPr>
            <a:spLocks noGrp="1"/>
          </p:cNvSpPr>
          <p:nvPr>
            <p:ph type="pic" sz="quarter" idx="16"/>
          </p:nvPr>
        </p:nvSpPr>
        <p:spPr>
          <a:xfrm>
            <a:off x="468000" y="1368000"/>
            <a:ext cx="3276000" cy="1828800"/>
          </a:xfrm>
          <a:solidFill>
            <a:schemeClr val="accent1">
              <a:alpha val="15000"/>
            </a:schemeClr>
          </a:solidFill>
        </p:spPr>
        <p:txBody>
          <a:bodyPr/>
          <a:lstStyle/>
          <a:p>
            <a:endParaRPr lang="en-GB" dirty="0"/>
          </a:p>
        </p:txBody>
      </p:sp>
      <p:sp>
        <p:nvSpPr>
          <p:cNvPr id="11" name="Picture Placeholder 3">
            <a:extLst>
              <a:ext uri="{FF2B5EF4-FFF2-40B4-BE49-F238E27FC236}">
                <a16:creationId xmlns:a16="http://schemas.microsoft.com/office/drawing/2014/main" id="{19D8DBAF-B470-4A4B-A369-3F767FE227A7}"/>
              </a:ext>
            </a:extLst>
          </p:cNvPr>
          <p:cNvSpPr>
            <a:spLocks noGrp="1"/>
          </p:cNvSpPr>
          <p:nvPr>
            <p:ph type="pic" sz="quarter" idx="17"/>
          </p:nvPr>
        </p:nvSpPr>
        <p:spPr>
          <a:xfrm>
            <a:off x="4458600" y="1368000"/>
            <a:ext cx="3276000" cy="1828800"/>
          </a:xfrm>
          <a:solidFill>
            <a:schemeClr val="accent1">
              <a:alpha val="15000"/>
            </a:schemeClr>
          </a:solidFill>
        </p:spPr>
        <p:txBody>
          <a:bodyPr/>
          <a:lstStyle/>
          <a:p>
            <a:endParaRPr lang="en-GB" dirty="0"/>
          </a:p>
        </p:txBody>
      </p:sp>
      <p:sp>
        <p:nvSpPr>
          <p:cNvPr id="13" name="Picture Placeholder 3">
            <a:extLst>
              <a:ext uri="{FF2B5EF4-FFF2-40B4-BE49-F238E27FC236}">
                <a16:creationId xmlns:a16="http://schemas.microsoft.com/office/drawing/2014/main" id="{235487EC-06E2-46C0-83DC-F8C21271F2EB}"/>
              </a:ext>
            </a:extLst>
          </p:cNvPr>
          <p:cNvSpPr>
            <a:spLocks noGrp="1"/>
          </p:cNvSpPr>
          <p:nvPr>
            <p:ph type="pic" sz="quarter" idx="18"/>
          </p:nvPr>
        </p:nvSpPr>
        <p:spPr>
          <a:xfrm>
            <a:off x="8448887" y="1368000"/>
            <a:ext cx="3276000" cy="1828800"/>
          </a:xfrm>
          <a:solidFill>
            <a:schemeClr val="accent1">
              <a:alpha val="15000"/>
            </a:schemeClr>
          </a:solidFill>
        </p:spPr>
        <p:txBody>
          <a:bodyPr/>
          <a:lstStyle/>
          <a:p>
            <a:endParaRPr lang="en-GB" dirty="0"/>
          </a:p>
        </p:txBody>
      </p:sp>
      <p:sp>
        <p:nvSpPr>
          <p:cNvPr id="8" name="Text Placeholder 7">
            <a:extLst>
              <a:ext uri="{FF2B5EF4-FFF2-40B4-BE49-F238E27FC236}">
                <a16:creationId xmlns:a16="http://schemas.microsoft.com/office/drawing/2014/main" id="{03F45260-C497-47D9-AF3B-446E45443484}"/>
              </a:ext>
            </a:extLst>
          </p:cNvPr>
          <p:cNvSpPr>
            <a:spLocks noGrp="1" noChangeAspect="1"/>
          </p:cNvSpPr>
          <p:nvPr>
            <p:ph type="body" sz="quarter" idx="19" hasCustomPrompt="1"/>
          </p:nvPr>
        </p:nvSpPr>
        <p:spPr>
          <a:xfrm>
            <a:off x="468000" y="3657600"/>
            <a:ext cx="270000" cy="270000"/>
          </a:xfrm>
          <a:prstGeom prst="ellipse">
            <a:avLst/>
          </a:prstGeom>
          <a:solidFill>
            <a:schemeClr val="accent4"/>
          </a:solidFill>
        </p:spPr>
        <p:txBody>
          <a:bodyPr anchor="ctr" anchorCtr="0"/>
          <a:lstStyle>
            <a:lvl1pPr algn="ctr">
              <a:lnSpc>
                <a:spcPct val="100000"/>
              </a:lnSpc>
              <a:spcAft>
                <a:spcPts val="0"/>
              </a:spcAft>
              <a:defRPr sz="1200">
                <a:solidFill>
                  <a:schemeClr val="bg1"/>
                </a:solidFill>
              </a:defRPr>
            </a:lvl1pPr>
          </a:lstStyle>
          <a:p>
            <a:pPr lvl="0"/>
            <a:r>
              <a:rPr lang="en-US" dirty="0"/>
              <a:t>0</a:t>
            </a:r>
            <a:endParaRPr lang="en-GB" dirty="0"/>
          </a:p>
        </p:txBody>
      </p:sp>
      <p:sp>
        <p:nvSpPr>
          <p:cNvPr id="15" name="Text Placeholder 7">
            <a:extLst>
              <a:ext uri="{FF2B5EF4-FFF2-40B4-BE49-F238E27FC236}">
                <a16:creationId xmlns:a16="http://schemas.microsoft.com/office/drawing/2014/main" id="{8EF2A354-27CB-484D-96DB-39542AB1CD30}"/>
              </a:ext>
            </a:extLst>
          </p:cNvPr>
          <p:cNvSpPr>
            <a:spLocks noGrp="1" noChangeAspect="1"/>
          </p:cNvSpPr>
          <p:nvPr>
            <p:ph type="body" sz="quarter" idx="20" hasCustomPrompt="1"/>
          </p:nvPr>
        </p:nvSpPr>
        <p:spPr>
          <a:xfrm>
            <a:off x="4458600" y="3657600"/>
            <a:ext cx="270000" cy="270000"/>
          </a:xfrm>
          <a:prstGeom prst="ellipse">
            <a:avLst/>
          </a:prstGeom>
          <a:solidFill>
            <a:schemeClr val="accent4"/>
          </a:solidFill>
        </p:spPr>
        <p:txBody>
          <a:bodyPr anchor="ctr" anchorCtr="0"/>
          <a:lstStyle>
            <a:lvl1pPr algn="ctr">
              <a:lnSpc>
                <a:spcPct val="100000"/>
              </a:lnSpc>
              <a:spcAft>
                <a:spcPts val="0"/>
              </a:spcAft>
              <a:defRPr sz="1200">
                <a:solidFill>
                  <a:schemeClr val="bg1"/>
                </a:solidFill>
              </a:defRPr>
            </a:lvl1pPr>
          </a:lstStyle>
          <a:p>
            <a:pPr lvl="0"/>
            <a:r>
              <a:rPr lang="en-US" dirty="0"/>
              <a:t>0</a:t>
            </a:r>
            <a:endParaRPr lang="en-GB" dirty="0"/>
          </a:p>
        </p:txBody>
      </p:sp>
      <p:sp>
        <p:nvSpPr>
          <p:cNvPr id="16" name="Text Placeholder 7">
            <a:extLst>
              <a:ext uri="{FF2B5EF4-FFF2-40B4-BE49-F238E27FC236}">
                <a16:creationId xmlns:a16="http://schemas.microsoft.com/office/drawing/2014/main" id="{E5C2FAAE-29A0-48EB-A050-6AB41B93E140}"/>
              </a:ext>
            </a:extLst>
          </p:cNvPr>
          <p:cNvSpPr>
            <a:spLocks noGrp="1" noChangeAspect="1"/>
          </p:cNvSpPr>
          <p:nvPr>
            <p:ph type="body" sz="quarter" idx="21" hasCustomPrompt="1"/>
          </p:nvPr>
        </p:nvSpPr>
        <p:spPr>
          <a:xfrm>
            <a:off x="8448887" y="3657600"/>
            <a:ext cx="270000" cy="270000"/>
          </a:xfrm>
          <a:prstGeom prst="ellipse">
            <a:avLst/>
          </a:prstGeom>
          <a:solidFill>
            <a:schemeClr val="accent4"/>
          </a:solidFill>
        </p:spPr>
        <p:txBody>
          <a:bodyPr anchor="ctr" anchorCtr="0"/>
          <a:lstStyle>
            <a:lvl1pPr algn="ctr">
              <a:lnSpc>
                <a:spcPct val="100000"/>
              </a:lnSpc>
              <a:spcAft>
                <a:spcPts val="0"/>
              </a:spcAft>
              <a:defRPr sz="1200">
                <a:solidFill>
                  <a:schemeClr val="bg1"/>
                </a:solidFill>
              </a:defRPr>
            </a:lvl1pPr>
          </a:lstStyle>
          <a:p>
            <a:pPr lvl="0"/>
            <a:r>
              <a:rPr lang="en-US" dirty="0"/>
              <a:t>0</a:t>
            </a:r>
            <a:endParaRPr lang="en-GB" dirty="0"/>
          </a:p>
        </p:txBody>
      </p:sp>
    </p:spTree>
    <p:extLst>
      <p:ext uri="{BB962C8B-B14F-4D97-AF65-F5344CB8AC3E}">
        <p14:creationId xmlns:p14="http://schemas.microsoft.com/office/powerpoint/2010/main" val="22391035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tats v3">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6" name="Footer Placeholder 5"/>
          <p:cNvSpPr>
            <a:spLocks noGrp="1"/>
          </p:cNvSpPr>
          <p:nvPr>
            <p:ph type="ftr" sz="quarter" idx="11"/>
          </p:nvPr>
        </p:nvSpPr>
        <p:spPr/>
        <p:txBody>
          <a:bodyPr/>
          <a:lstStyle/>
          <a:p>
            <a:r>
              <a:rPr lang="en-GB" noProof="0" dirty="0"/>
              <a:t>© Colt Technology Services  |  Presentation title here</a:t>
            </a:r>
          </a:p>
        </p:txBody>
      </p:sp>
      <p:sp>
        <p:nvSpPr>
          <p:cNvPr id="7" name="Slide Number Placeholder 6"/>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dirty="0"/>
          </a:p>
        </p:txBody>
      </p:sp>
      <p:sp>
        <p:nvSpPr>
          <p:cNvPr id="10" name="Content Placeholder 9">
            <a:extLst>
              <a:ext uri="{FF2B5EF4-FFF2-40B4-BE49-F238E27FC236}">
                <a16:creationId xmlns:a16="http://schemas.microsoft.com/office/drawing/2014/main" id="{4C8574F6-DC41-4E64-8E1A-15B6A848557A}"/>
              </a:ext>
            </a:extLst>
          </p:cNvPr>
          <p:cNvSpPr>
            <a:spLocks noGrp="1"/>
          </p:cNvSpPr>
          <p:nvPr>
            <p:ph sz="quarter" idx="13"/>
          </p:nvPr>
        </p:nvSpPr>
        <p:spPr>
          <a:xfrm>
            <a:off x="468000" y="1354138"/>
            <a:ext cx="4212000" cy="4821237"/>
          </a:xfrm>
        </p:spPr>
        <p:txBody>
          <a:bodyPr/>
          <a:lstStyle>
            <a:lvl1pPr>
              <a:defRPr>
                <a:solidFill>
                  <a:schemeClr val="accent2"/>
                </a:solidFill>
              </a:defRPr>
            </a:lvl1pPr>
            <a:lvl3pPr>
              <a:defRPr>
                <a:solidFill>
                  <a:schemeClr val="accent2"/>
                </a:solidFill>
              </a:defRPr>
            </a:lvl3pPr>
          </a:lstStyle>
          <a:p>
            <a:pPr lvl="0"/>
            <a:r>
              <a:rPr lang="en-US" dirty="0"/>
              <a:t>Click to edit Master text styles</a:t>
            </a:r>
          </a:p>
          <a:p>
            <a:pPr lvl="1"/>
            <a:r>
              <a:rPr lang="en-US" dirty="0"/>
              <a:t>Second level</a:t>
            </a:r>
          </a:p>
          <a:p>
            <a:pPr lvl="2"/>
            <a:r>
              <a:rPr lang="en-US" dirty="0"/>
              <a:t>Third level	</a:t>
            </a:r>
          </a:p>
          <a:p>
            <a:pPr lvl="3"/>
            <a:r>
              <a:rPr lang="en-US" dirty="0"/>
              <a:t>Fourth level</a:t>
            </a:r>
          </a:p>
          <a:p>
            <a:pPr lvl="4"/>
            <a:r>
              <a:rPr lang="en-US" dirty="0"/>
              <a:t>Fifth level</a:t>
            </a:r>
            <a:endParaRPr lang="en-GB" dirty="0"/>
          </a:p>
        </p:txBody>
      </p:sp>
      <p:sp>
        <p:nvSpPr>
          <p:cNvPr id="14" name="Content Placeholder 13">
            <a:extLst>
              <a:ext uri="{FF2B5EF4-FFF2-40B4-BE49-F238E27FC236}">
                <a16:creationId xmlns:a16="http://schemas.microsoft.com/office/drawing/2014/main" id="{A2D69BA6-1D74-4DBF-BB10-49BCF51B0B20}"/>
              </a:ext>
            </a:extLst>
          </p:cNvPr>
          <p:cNvSpPr>
            <a:spLocks noGrp="1"/>
          </p:cNvSpPr>
          <p:nvPr>
            <p:ph sz="quarter" idx="15"/>
          </p:nvPr>
        </p:nvSpPr>
        <p:spPr>
          <a:xfrm>
            <a:off x="9000000" y="1354137"/>
            <a:ext cx="2268000" cy="4821237"/>
          </a:xfrm>
        </p:spPr>
        <p:txBody>
          <a:bodyPr/>
          <a:lstStyle>
            <a:lvl1pPr>
              <a:defRPr>
                <a:solidFill>
                  <a:schemeClr val="accent3"/>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13">
            <a:extLst>
              <a:ext uri="{FF2B5EF4-FFF2-40B4-BE49-F238E27FC236}">
                <a16:creationId xmlns:a16="http://schemas.microsoft.com/office/drawing/2014/main" id="{E82AEA91-0D33-46DE-A566-9B6C4A3E94A7}"/>
              </a:ext>
            </a:extLst>
          </p:cNvPr>
          <p:cNvSpPr>
            <a:spLocks noGrp="1"/>
          </p:cNvSpPr>
          <p:nvPr>
            <p:ph sz="quarter" idx="16"/>
          </p:nvPr>
        </p:nvSpPr>
        <p:spPr>
          <a:xfrm>
            <a:off x="6484915" y="1354137"/>
            <a:ext cx="2268000" cy="4821237"/>
          </a:xfrm>
        </p:spPr>
        <p:txBody>
          <a:bodyPr/>
          <a:lstStyle>
            <a:lvl1pPr>
              <a:defRPr>
                <a:solidFill>
                  <a:schemeClr val="accent4"/>
                </a:solidFill>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85096328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melin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97F1EB-6AFA-46E6-8260-33AB8A82DFE7}"/>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8F86E82E-D212-4DFA-81D5-25C8D8B01B76}"/>
              </a:ext>
            </a:extLst>
          </p:cNvPr>
          <p:cNvSpPr>
            <a:spLocks noGrp="1"/>
          </p:cNvSpPr>
          <p:nvPr>
            <p:ph type="dt" sz="half" idx="10"/>
          </p:nvPr>
        </p:nvSpPr>
        <p:spPr/>
        <p:txBody>
          <a:bodyPr/>
          <a:lstStyle/>
          <a:p>
            <a:fld id="{00B7A701-B70B-48A4-9EFB-4F00A3212127}" type="datetime3">
              <a:rPr lang="en-US" noProof="0" smtClean="0"/>
              <a:t>22 December 2023</a:t>
            </a:fld>
            <a:endParaRPr lang="en-GB" noProof="0" dirty="0"/>
          </a:p>
        </p:txBody>
      </p:sp>
      <p:sp>
        <p:nvSpPr>
          <p:cNvPr id="4" name="Footer Placeholder 3">
            <a:extLst>
              <a:ext uri="{FF2B5EF4-FFF2-40B4-BE49-F238E27FC236}">
                <a16:creationId xmlns:a16="http://schemas.microsoft.com/office/drawing/2014/main" id="{13F3B690-CE24-4E66-9D2D-84973CAEC15A}"/>
              </a:ext>
            </a:extLst>
          </p:cNvPr>
          <p:cNvSpPr>
            <a:spLocks noGrp="1"/>
          </p:cNvSpPr>
          <p:nvPr>
            <p:ph type="ftr" sz="quarter" idx="11"/>
          </p:nvPr>
        </p:nvSpPr>
        <p:spPr/>
        <p:txBody>
          <a:bodyPr/>
          <a:lstStyle/>
          <a:p>
            <a:pPr>
              <a:lnSpc>
                <a:spcPts val="970"/>
              </a:lnSpc>
            </a:pPr>
            <a:r>
              <a:rPr lang="en-GB" dirty="0">
                <a:solidFill>
                  <a:schemeClr val="accent2"/>
                </a:solidFill>
              </a:rPr>
              <a:t>© Colt Technology Services  |  Presentation title here</a:t>
            </a:r>
          </a:p>
        </p:txBody>
      </p:sp>
      <p:sp>
        <p:nvSpPr>
          <p:cNvPr id="5" name="Slide Number Placeholder 4">
            <a:extLst>
              <a:ext uri="{FF2B5EF4-FFF2-40B4-BE49-F238E27FC236}">
                <a16:creationId xmlns:a16="http://schemas.microsoft.com/office/drawing/2014/main" id="{3B228E37-D3E2-49C4-BE7D-4067EBD120F3}"/>
              </a:ext>
            </a:extLst>
          </p:cNvPr>
          <p:cNvSpPr>
            <a:spLocks noGrp="1"/>
          </p:cNvSpPr>
          <p:nvPr>
            <p:ph type="sldNum" sz="quarter" idx="12"/>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pic>
        <p:nvPicPr>
          <p:cNvPr id="7" name="Graphic 6">
            <a:extLst>
              <a:ext uri="{FF2B5EF4-FFF2-40B4-BE49-F238E27FC236}">
                <a16:creationId xmlns:a16="http://schemas.microsoft.com/office/drawing/2014/main" id="{2404A514-DC81-4DC1-99F2-15989271CA5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68000" y="3240000"/>
            <a:ext cx="11239500" cy="457200"/>
          </a:xfrm>
          <a:prstGeom prst="rect">
            <a:avLst/>
          </a:prstGeom>
        </p:spPr>
      </p:pic>
      <p:sp>
        <p:nvSpPr>
          <p:cNvPr id="11" name="Media Placeholder 10">
            <a:extLst>
              <a:ext uri="{FF2B5EF4-FFF2-40B4-BE49-F238E27FC236}">
                <a16:creationId xmlns:a16="http://schemas.microsoft.com/office/drawing/2014/main" id="{0558167F-F2A6-43D9-8382-C17BCA5734D4}"/>
              </a:ext>
            </a:extLst>
          </p:cNvPr>
          <p:cNvSpPr>
            <a:spLocks noGrp="1"/>
          </p:cNvSpPr>
          <p:nvPr>
            <p:ph type="media" sz="quarter" idx="13" hasCustomPrompt="1"/>
          </p:nvPr>
        </p:nvSpPr>
        <p:spPr>
          <a:xfrm>
            <a:off x="2160000" y="1404000"/>
            <a:ext cx="7200" cy="1836000"/>
          </a:xfrm>
          <a:solidFill>
            <a:schemeClr val="tx2"/>
          </a:solidFill>
        </p:spPr>
        <p:txBody>
          <a:bodyPr/>
          <a:lstStyle>
            <a:lvl1pPr>
              <a:defRPr sz="100">
                <a:solidFill>
                  <a:schemeClr val="tx2"/>
                </a:solidFill>
              </a:defRPr>
            </a:lvl1pPr>
          </a:lstStyle>
          <a:p>
            <a:r>
              <a:rPr lang="en-GB" dirty="0"/>
              <a:t> </a:t>
            </a:r>
          </a:p>
        </p:txBody>
      </p:sp>
      <p:sp>
        <p:nvSpPr>
          <p:cNvPr id="12" name="Media Placeholder 10">
            <a:extLst>
              <a:ext uri="{FF2B5EF4-FFF2-40B4-BE49-F238E27FC236}">
                <a16:creationId xmlns:a16="http://schemas.microsoft.com/office/drawing/2014/main" id="{8DFD0D35-F6E6-451D-977E-02EA680267DC}"/>
              </a:ext>
            </a:extLst>
          </p:cNvPr>
          <p:cNvSpPr>
            <a:spLocks noGrp="1"/>
          </p:cNvSpPr>
          <p:nvPr>
            <p:ph type="media" sz="quarter" idx="14" hasCustomPrompt="1"/>
          </p:nvPr>
        </p:nvSpPr>
        <p:spPr>
          <a:xfrm>
            <a:off x="4500000" y="1404000"/>
            <a:ext cx="7200" cy="1836000"/>
          </a:xfrm>
          <a:solidFill>
            <a:schemeClr val="tx2"/>
          </a:solidFill>
        </p:spPr>
        <p:txBody>
          <a:bodyPr/>
          <a:lstStyle>
            <a:lvl1pPr>
              <a:defRPr sz="100">
                <a:solidFill>
                  <a:schemeClr val="tx2"/>
                </a:solidFill>
              </a:defRPr>
            </a:lvl1pPr>
          </a:lstStyle>
          <a:p>
            <a:r>
              <a:rPr lang="en-GB" dirty="0"/>
              <a:t> </a:t>
            </a:r>
          </a:p>
        </p:txBody>
      </p:sp>
      <p:sp>
        <p:nvSpPr>
          <p:cNvPr id="13" name="Media Placeholder 10">
            <a:extLst>
              <a:ext uri="{FF2B5EF4-FFF2-40B4-BE49-F238E27FC236}">
                <a16:creationId xmlns:a16="http://schemas.microsoft.com/office/drawing/2014/main" id="{38DBCF0C-1CF1-49E4-B7C6-F6A7959AFA1C}"/>
              </a:ext>
            </a:extLst>
          </p:cNvPr>
          <p:cNvSpPr>
            <a:spLocks noGrp="1"/>
          </p:cNvSpPr>
          <p:nvPr>
            <p:ph type="media" sz="quarter" idx="15" hasCustomPrompt="1"/>
          </p:nvPr>
        </p:nvSpPr>
        <p:spPr>
          <a:xfrm>
            <a:off x="6840000" y="1404000"/>
            <a:ext cx="7200" cy="1836000"/>
          </a:xfrm>
          <a:solidFill>
            <a:schemeClr val="tx2"/>
          </a:solidFill>
        </p:spPr>
        <p:txBody>
          <a:bodyPr/>
          <a:lstStyle>
            <a:lvl1pPr>
              <a:defRPr sz="100">
                <a:solidFill>
                  <a:schemeClr val="tx2"/>
                </a:solidFill>
              </a:defRPr>
            </a:lvl1pPr>
          </a:lstStyle>
          <a:p>
            <a:r>
              <a:rPr lang="en-GB" dirty="0"/>
              <a:t> </a:t>
            </a:r>
          </a:p>
        </p:txBody>
      </p:sp>
      <p:sp>
        <p:nvSpPr>
          <p:cNvPr id="14" name="Media Placeholder 10">
            <a:extLst>
              <a:ext uri="{FF2B5EF4-FFF2-40B4-BE49-F238E27FC236}">
                <a16:creationId xmlns:a16="http://schemas.microsoft.com/office/drawing/2014/main" id="{F3939553-606E-4A32-9D09-7D96F632A714}"/>
              </a:ext>
            </a:extLst>
          </p:cNvPr>
          <p:cNvSpPr>
            <a:spLocks noGrp="1"/>
          </p:cNvSpPr>
          <p:nvPr>
            <p:ph type="media" sz="quarter" idx="16" hasCustomPrompt="1"/>
          </p:nvPr>
        </p:nvSpPr>
        <p:spPr>
          <a:xfrm>
            <a:off x="9180000" y="1404000"/>
            <a:ext cx="7200" cy="1836000"/>
          </a:xfrm>
          <a:solidFill>
            <a:schemeClr val="tx2"/>
          </a:solidFill>
        </p:spPr>
        <p:txBody>
          <a:bodyPr/>
          <a:lstStyle>
            <a:lvl1pPr>
              <a:defRPr sz="100">
                <a:solidFill>
                  <a:schemeClr val="tx2"/>
                </a:solidFill>
              </a:defRPr>
            </a:lvl1pPr>
          </a:lstStyle>
          <a:p>
            <a:r>
              <a:rPr lang="en-GB" dirty="0"/>
              <a:t> </a:t>
            </a:r>
          </a:p>
        </p:txBody>
      </p:sp>
      <p:sp>
        <p:nvSpPr>
          <p:cNvPr id="15" name="Media Placeholder 10">
            <a:extLst>
              <a:ext uri="{FF2B5EF4-FFF2-40B4-BE49-F238E27FC236}">
                <a16:creationId xmlns:a16="http://schemas.microsoft.com/office/drawing/2014/main" id="{7B1FBA84-04DD-4B5B-851E-AABAACABFC7F}"/>
              </a:ext>
            </a:extLst>
          </p:cNvPr>
          <p:cNvSpPr>
            <a:spLocks noGrp="1"/>
          </p:cNvSpPr>
          <p:nvPr>
            <p:ph type="media" sz="quarter" idx="17" hasCustomPrompt="1"/>
          </p:nvPr>
        </p:nvSpPr>
        <p:spPr>
          <a:xfrm>
            <a:off x="1260000" y="3697200"/>
            <a:ext cx="7200" cy="1836000"/>
          </a:xfrm>
          <a:solidFill>
            <a:schemeClr val="tx2"/>
          </a:solidFill>
        </p:spPr>
        <p:txBody>
          <a:bodyPr/>
          <a:lstStyle>
            <a:lvl1pPr>
              <a:defRPr sz="100">
                <a:solidFill>
                  <a:schemeClr val="tx2"/>
                </a:solidFill>
              </a:defRPr>
            </a:lvl1pPr>
          </a:lstStyle>
          <a:p>
            <a:r>
              <a:rPr lang="en-GB" dirty="0"/>
              <a:t> </a:t>
            </a:r>
          </a:p>
        </p:txBody>
      </p:sp>
      <p:sp>
        <p:nvSpPr>
          <p:cNvPr id="16" name="Media Placeholder 10">
            <a:extLst>
              <a:ext uri="{FF2B5EF4-FFF2-40B4-BE49-F238E27FC236}">
                <a16:creationId xmlns:a16="http://schemas.microsoft.com/office/drawing/2014/main" id="{EF861C7E-F1A1-46F9-B1A4-20CD86575858}"/>
              </a:ext>
            </a:extLst>
          </p:cNvPr>
          <p:cNvSpPr>
            <a:spLocks noGrp="1"/>
          </p:cNvSpPr>
          <p:nvPr>
            <p:ph type="media" sz="quarter" idx="18" hasCustomPrompt="1"/>
          </p:nvPr>
        </p:nvSpPr>
        <p:spPr>
          <a:xfrm>
            <a:off x="3600000" y="3697200"/>
            <a:ext cx="7200" cy="1836000"/>
          </a:xfrm>
          <a:solidFill>
            <a:schemeClr val="tx2"/>
          </a:solidFill>
        </p:spPr>
        <p:txBody>
          <a:bodyPr/>
          <a:lstStyle>
            <a:lvl1pPr>
              <a:defRPr sz="100">
                <a:solidFill>
                  <a:schemeClr val="tx2"/>
                </a:solidFill>
              </a:defRPr>
            </a:lvl1pPr>
          </a:lstStyle>
          <a:p>
            <a:r>
              <a:rPr lang="en-GB" dirty="0"/>
              <a:t> </a:t>
            </a:r>
          </a:p>
        </p:txBody>
      </p:sp>
      <p:sp>
        <p:nvSpPr>
          <p:cNvPr id="17" name="Media Placeholder 10">
            <a:extLst>
              <a:ext uri="{FF2B5EF4-FFF2-40B4-BE49-F238E27FC236}">
                <a16:creationId xmlns:a16="http://schemas.microsoft.com/office/drawing/2014/main" id="{3FA27553-D321-4510-B976-1810C206AA6A}"/>
              </a:ext>
            </a:extLst>
          </p:cNvPr>
          <p:cNvSpPr>
            <a:spLocks noGrp="1"/>
          </p:cNvSpPr>
          <p:nvPr>
            <p:ph type="media" sz="quarter" idx="19" hasCustomPrompt="1"/>
          </p:nvPr>
        </p:nvSpPr>
        <p:spPr>
          <a:xfrm>
            <a:off x="5940000" y="3697200"/>
            <a:ext cx="7200" cy="1836000"/>
          </a:xfrm>
          <a:solidFill>
            <a:schemeClr val="tx2"/>
          </a:solidFill>
        </p:spPr>
        <p:txBody>
          <a:bodyPr/>
          <a:lstStyle>
            <a:lvl1pPr>
              <a:defRPr sz="100">
                <a:solidFill>
                  <a:schemeClr val="tx2"/>
                </a:solidFill>
              </a:defRPr>
            </a:lvl1pPr>
          </a:lstStyle>
          <a:p>
            <a:r>
              <a:rPr lang="en-GB" dirty="0"/>
              <a:t> </a:t>
            </a:r>
          </a:p>
        </p:txBody>
      </p:sp>
      <p:sp>
        <p:nvSpPr>
          <p:cNvPr id="18" name="Media Placeholder 10">
            <a:extLst>
              <a:ext uri="{FF2B5EF4-FFF2-40B4-BE49-F238E27FC236}">
                <a16:creationId xmlns:a16="http://schemas.microsoft.com/office/drawing/2014/main" id="{1E551277-AEE7-4026-9457-AF6AB7A8B843}"/>
              </a:ext>
            </a:extLst>
          </p:cNvPr>
          <p:cNvSpPr>
            <a:spLocks noGrp="1"/>
          </p:cNvSpPr>
          <p:nvPr>
            <p:ph type="media" sz="quarter" idx="20" hasCustomPrompt="1"/>
          </p:nvPr>
        </p:nvSpPr>
        <p:spPr>
          <a:xfrm>
            <a:off x="8280000" y="3697200"/>
            <a:ext cx="7200" cy="1836000"/>
          </a:xfrm>
          <a:solidFill>
            <a:schemeClr val="tx2"/>
          </a:solidFill>
        </p:spPr>
        <p:txBody>
          <a:bodyPr/>
          <a:lstStyle>
            <a:lvl1pPr>
              <a:defRPr sz="100">
                <a:solidFill>
                  <a:schemeClr val="tx2"/>
                </a:solidFill>
              </a:defRPr>
            </a:lvl1pPr>
          </a:lstStyle>
          <a:p>
            <a:r>
              <a:rPr lang="en-GB" dirty="0"/>
              <a:t> </a:t>
            </a:r>
          </a:p>
        </p:txBody>
      </p:sp>
      <p:sp>
        <p:nvSpPr>
          <p:cNvPr id="22" name="Text Placeholder 21">
            <a:extLst>
              <a:ext uri="{FF2B5EF4-FFF2-40B4-BE49-F238E27FC236}">
                <a16:creationId xmlns:a16="http://schemas.microsoft.com/office/drawing/2014/main" id="{3D7E56A9-D978-40C4-917E-FE856DC0AF0E}"/>
              </a:ext>
            </a:extLst>
          </p:cNvPr>
          <p:cNvSpPr>
            <a:spLocks noGrp="1"/>
          </p:cNvSpPr>
          <p:nvPr>
            <p:ph type="body" sz="quarter" idx="22"/>
          </p:nvPr>
        </p:nvSpPr>
        <p:spPr>
          <a:xfrm>
            <a:off x="2376000" y="2160000"/>
            <a:ext cx="1800000" cy="720000"/>
          </a:xfrm>
        </p:spPr>
        <p:txBody>
          <a:bodyPr/>
          <a:lstStyle>
            <a:lvl1pPr>
              <a:lnSpc>
                <a:spcPts val="1230"/>
              </a:lnSpc>
              <a:defRPr sz="1060">
                <a:solidFill>
                  <a:schemeClr val="tx2"/>
                </a:solidFill>
              </a:defRPr>
            </a:lvl1pPr>
            <a:lvl2pPr marL="108000" indent="-108000">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
        <p:nvSpPr>
          <p:cNvPr id="23" name="Text Placeholder 21">
            <a:extLst>
              <a:ext uri="{FF2B5EF4-FFF2-40B4-BE49-F238E27FC236}">
                <a16:creationId xmlns:a16="http://schemas.microsoft.com/office/drawing/2014/main" id="{14C4FBED-DAAD-4027-BD3C-4A0157316A59}"/>
              </a:ext>
            </a:extLst>
          </p:cNvPr>
          <p:cNvSpPr>
            <a:spLocks noGrp="1"/>
          </p:cNvSpPr>
          <p:nvPr>
            <p:ph type="body" sz="quarter" idx="23"/>
          </p:nvPr>
        </p:nvSpPr>
        <p:spPr>
          <a:xfrm>
            <a:off x="4716000" y="2160000"/>
            <a:ext cx="1800000" cy="720000"/>
          </a:xfrm>
        </p:spPr>
        <p:txBody>
          <a:bodyPr/>
          <a:lstStyle>
            <a:lvl1pPr>
              <a:lnSpc>
                <a:spcPts val="1230"/>
              </a:lnSpc>
              <a:defRPr sz="1060">
                <a:solidFill>
                  <a:schemeClr val="tx2"/>
                </a:solidFill>
              </a:defRPr>
            </a:lvl1pPr>
            <a:lvl2pPr marL="108000" indent="-108000">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
        <p:nvSpPr>
          <p:cNvPr id="24" name="Text Placeholder 21">
            <a:extLst>
              <a:ext uri="{FF2B5EF4-FFF2-40B4-BE49-F238E27FC236}">
                <a16:creationId xmlns:a16="http://schemas.microsoft.com/office/drawing/2014/main" id="{9348C78B-A872-41D3-A328-54904EEB6E0C}"/>
              </a:ext>
            </a:extLst>
          </p:cNvPr>
          <p:cNvSpPr>
            <a:spLocks noGrp="1"/>
          </p:cNvSpPr>
          <p:nvPr>
            <p:ph type="body" sz="quarter" idx="24"/>
          </p:nvPr>
        </p:nvSpPr>
        <p:spPr>
          <a:xfrm>
            <a:off x="7056000" y="2160000"/>
            <a:ext cx="1800000" cy="720000"/>
          </a:xfrm>
        </p:spPr>
        <p:txBody>
          <a:bodyPr/>
          <a:lstStyle>
            <a:lvl1pPr>
              <a:lnSpc>
                <a:spcPts val="1230"/>
              </a:lnSpc>
              <a:defRPr sz="1060">
                <a:solidFill>
                  <a:schemeClr val="tx2"/>
                </a:solidFill>
              </a:defRPr>
            </a:lvl1pPr>
            <a:lvl2pPr marL="108000" indent="-108000">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
        <p:nvSpPr>
          <p:cNvPr id="25" name="Text Placeholder 21">
            <a:extLst>
              <a:ext uri="{FF2B5EF4-FFF2-40B4-BE49-F238E27FC236}">
                <a16:creationId xmlns:a16="http://schemas.microsoft.com/office/drawing/2014/main" id="{DDFA9D6F-33E6-47AA-BE2B-1A82C05DA100}"/>
              </a:ext>
            </a:extLst>
          </p:cNvPr>
          <p:cNvSpPr>
            <a:spLocks noGrp="1"/>
          </p:cNvSpPr>
          <p:nvPr>
            <p:ph type="body" sz="quarter" idx="25"/>
          </p:nvPr>
        </p:nvSpPr>
        <p:spPr>
          <a:xfrm>
            <a:off x="9396000" y="2160000"/>
            <a:ext cx="1800000" cy="720000"/>
          </a:xfrm>
        </p:spPr>
        <p:txBody>
          <a:bodyPr/>
          <a:lstStyle>
            <a:lvl1pPr>
              <a:lnSpc>
                <a:spcPts val="1230"/>
              </a:lnSpc>
              <a:defRPr sz="1060">
                <a:solidFill>
                  <a:schemeClr val="tx2"/>
                </a:solidFill>
              </a:defRPr>
            </a:lvl1pPr>
            <a:lvl2pPr marL="108000" indent="-108000">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
        <p:nvSpPr>
          <p:cNvPr id="26" name="Text Placeholder 21">
            <a:extLst>
              <a:ext uri="{FF2B5EF4-FFF2-40B4-BE49-F238E27FC236}">
                <a16:creationId xmlns:a16="http://schemas.microsoft.com/office/drawing/2014/main" id="{81C152D9-93F9-48CB-9EF7-12583D1E1467}"/>
              </a:ext>
            </a:extLst>
          </p:cNvPr>
          <p:cNvSpPr>
            <a:spLocks noGrp="1"/>
          </p:cNvSpPr>
          <p:nvPr>
            <p:ph type="body" sz="quarter" idx="26"/>
          </p:nvPr>
        </p:nvSpPr>
        <p:spPr>
          <a:xfrm>
            <a:off x="1476000" y="4824000"/>
            <a:ext cx="1800000" cy="720000"/>
          </a:xfrm>
        </p:spPr>
        <p:txBody>
          <a:bodyPr/>
          <a:lstStyle>
            <a:lvl1pPr>
              <a:lnSpc>
                <a:spcPts val="1230"/>
              </a:lnSpc>
              <a:defRPr sz="1060">
                <a:solidFill>
                  <a:schemeClr val="tx2"/>
                </a:solidFill>
              </a:defRPr>
            </a:lvl1pPr>
            <a:lvl2pPr marL="108000" indent="-108000">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
        <p:nvSpPr>
          <p:cNvPr id="27" name="Text Placeholder 21">
            <a:extLst>
              <a:ext uri="{FF2B5EF4-FFF2-40B4-BE49-F238E27FC236}">
                <a16:creationId xmlns:a16="http://schemas.microsoft.com/office/drawing/2014/main" id="{3E85C4AE-7B9F-464F-91D4-15F242F165BA}"/>
              </a:ext>
            </a:extLst>
          </p:cNvPr>
          <p:cNvSpPr>
            <a:spLocks noGrp="1"/>
          </p:cNvSpPr>
          <p:nvPr>
            <p:ph type="body" sz="quarter" idx="27"/>
          </p:nvPr>
        </p:nvSpPr>
        <p:spPr>
          <a:xfrm>
            <a:off x="3816000" y="4824000"/>
            <a:ext cx="1800000" cy="720000"/>
          </a:xfrm>
        </p:spPr>
        <p:txBody>
          <a:bodyPr/>
          <a:lstStyle>
            <a:lvl1pPr>
              <a:lnSpc>
                <a:spcPts val="1230"/>
              </a:lnSpc>
              <a:defRPr sz="1060">
                <a:solidFill>
                  <a:schemeClr val="tx2"/>
                </a:solidFill>
              </a:defRPr>
            </a:lvl1pPr>
            <a:lvl2pPr marL="108000" indent="-108000">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
        <p:nvSpPr>
          <p:cNvPr id="28" name="Text Placeholder 21">
            <a:extLst>
              <a:ext uri="{FF2B5EF4-FFF2-40B4-BE49-F238E27FC236}">
                <a16:creationId xmlns:a16="http://schemas.microsoft.com/office/drawing/2014/main" id="{3CD2E452-65FD-400D-88BD-E0E5F31C47AD}"/>
              </a:ext>
            </a:extLst>
          </p:cNvPr>
          <p:cNvSpPr>
            <a:spLocks noGrp="1"/>
          </p:cNvSpPr>
          <p:nvPr>
            <p:ph type="body" sz="quarter" idx="28"/>
          </p:nvPr>
        </p:nvSpPr>
        <p:spPr>
          <a:xfrm>
            <a:off x="6156000" y="4824000"/>
            <a:ext cx="1800000" cy="720000"/>
          </a:xfrm>
        </p:spPr>
        <p:txBody>
          <a:bodyPr/>
          <a:lstStyle>
            <a:lvl1pPr>
              <a:lnSpc>
                <a:spcPts val="1230"/>
              </a:lnSpc>
              <a:defRPr sz="1060">
                <a:solidFill>
                  <a:schemeClr val="tx2"/>
                </a:solidFill>
              </a:defRPr>
            </a:lvl1pPr>
            <a:lvl2pPr marL="108000" indent="-108000">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
        <p:nvSpPr>
          <p:cNvPr id="29" name="Text Placeholder 21">
            <a:extLst>
              <a:ext uri="{FF2B5EF4-FFF2-40B4-BE49-F238E27FC236}">
                <a16:creationId xmlns:a16="http://schemas.microsoft.com/office/drawing/2014/main" id="{B0096270-5BD8-4EC6-925F-2EAFF51F667E}"/>
              </a:ext>
            </a:extLst>
          </p:cNvPr>
          <p:cNvSpPr>
            <a:spLocks noGrp="1"/>
          </p:cNvSpPr>
          <p:nvPr>
            <p:ph type="body" sz="quarter" idx="29"/>
          </p:nvPr>
        </p:nvSpPr>
        <p:spPr>
          <a:xfrm>
            <a:off x="8496000" y="4824000"/>
            <a:ext cx="1800000" cy="720000"/>
          </a:xfrm>
        </p:spPr>
        <p:txBody>
          <a:bodyPr/>
          <a:lstStyle>
            <a:lvl1pPr>
              <a:lnSpc>
                <a:spcPts val="1230"/>
              </a:lnSpc>
              <a:defRPr sz="1060">
                <a:solidFill>
                  <a:schemeClr val="tx2"/>
                </a:solidFill>
              </a:defRPr>
            </a:lvl1pPr>
            <a:lvl2pPr marL="108000" indent="-108000">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Tree>
    <p:extLst>
      <p:ext uri="{BB962C8B-B14F-4D97-AF65-F5344CB8AC3E}">
        <p14:creationId xmlns:p14="http://schemas.microsoft.com/office/powerpoint/2010/main" val="1887259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5_Title Slide v4">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97712C23-6290-2B4B-AADC-2868DD41D8E8}"/>
              </a:ext>
            </a:extLst>
          </p:cNvPr>
          <p:cNvPicPr>
            <a:picLocks noChangeAspect="1"/>
          </p:cNvPicPr>
          <p:nvPr userDrawn="1"/>
        </p:nvPicPr>
        <p:blipFill>
          <a:blip r:embed="rId2"/>
          <a:stretch>
            <a:fillRect/>
          </a:stretch>
        </p:blipFill>
        <p:spPr>
          <a:xfrm>
            <a:off x="7029083" y="0"/>
            <a:ext cx="5156200" cy="5880100"/>
          </a:xfrm>
          <a:prstGeom prst="rect">
            <a:avLst/>
          </a:prstGeom>
        </p:spPr>
      </p:pic>
      <p:sp>
        <p:nvSpPr>
          <p:cNvPr id="2" name="Title 1"/>
          <p:cNvSpPr>
            <a:spLocks noGrp="1"/>
          </p:cNvSpPr>
          <p:nvPr>
            <p:ph type="ctrTitle" hasCustomPrompt="1"/>
          </p:nvPr>
        </p:nvSpPr>
        <p:spPr>
          <a:xfrm>
            <a:off x="1875600" y="2286000"/>
            <a:ext cx="7306500" cy="1884008"/>
          </a:xfrm>
        </p:spPr>
        <p:txBody>
          <a:bodyPr/>
          <a:lstStyle>
            <a:lvl1pPr algn="l">
              <a:lnSpc>
                <a:spcPts val="6630"/>
              </a:lnSpc>
              <a:defRPr sz="6630"/>
            </a:lvl1pPr>
          </a:lstStyle>
          <a:p>
            <a:r>
              <a:rPr lang="en-GB" dirty="0"/>
              <a:t>Title Slide</a:t>
            </a:r>
            <a:endParaRPr lang="en-GB" noProof="0" dirty="0"/>
          </a:p>
        </p:txBody>
      </p:sp>
      <p:sp>
        <p:nvSpPr>
          <p:cNvPr id="3" name="Subtitle 2"/>
          <p:cNvSpPr>
            <a:spLocks noGrp="1"/>
          </p:cNvSpPr>
          <p:nvPr>
            <p:ph type="subTitle" idx="1"/>
          </p:nvPr>
        </p:nvSpPr>
        <p:spPr>
          <a:xfrm>
            <a:off x="1875600" y="4170008"/>
            <a:ext cx="7306500" cy="226795"/>
          </a:xfrm>
        </p:spPr>
        <p:txBody>
          <a:bodyPr/>
          <a:lstStyle>
            <a:lvl1pPr marL="0" indent="0" algn="l">
              <a:lnSpc>
                <a:spcPts val="1590"/>
              </a:lnSpc>
              <a:spcAft>
                <a:spcPts val="0"/>
              </a:spcAft>
              <a:buNone/>
              <a:defRPr sz="141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sp>
        <p:nvSpPr>
          <p:cNvPr id="4" name="Date Placeholder 3"/>
          <p:cNvSpPr>
            <a:spLocks noGrp="1"/>
          </p:cNvSpPr>
          <p:nvPr>
            <p:ph type="dt" sz="half" idx="10"/>
          </p:nvPr>
        </p:nvSpPr>
        <p:spPr>
          <a:xfrm>
            <a:off x="1875600" y="4414345"/>
            <a:ext cx="3996000" cy="288000"/>
          </a:xfrm>
        </p:spPr>
        <p:txBody>
          <a:bodyPr anchor="t" anchorCtr="0"/>
          <a:lstStyle>
            <a:lvl1pPr>
              <a:lnSpc>
                <a:spcPts val="1590"/>
              </a:lnSpc>
              <a:defRPr sz="1410">
                <a:solidFill>
                  <a:schemeClr val="accent2"/>
                </a:solidFill>
              </a:defRPr>
            </a:lvl1pPr>
          </a:lstStyle>
          <a:p>
            <a:pPr>
              <a:lnSpc>
                <a:spcPts val="1590"/>
              </a:lnSpc>
            </a:pPr>
            <a:fld id="{1C246972-E14A-4730-BC91-3E95C3F7192F}" type="datetime3">
              <a:rPr lang="en-US" smtClean="0"/>
              <a:t>22 December 2023</a:t>
            </a:fld>
            <a:endParaRPr lang="en-GB" dirty="0"/>
          </a:p>
        </p:txBody>
      </p:sp>
      <p:grpSp>
        <p:nvGrpSpPr>
          <p:cNvPr id="9" name="Group 8">
            <a:extLst>
              <a:ext uri="{FF2B5EF4-FFF2-40B4-BE49-F238E27FC236}">
                <a16:creationId xmlns:a16="http://schemas.microsoft.com/office/drawing/2014/main" id="{47D0206B-82CB-E348-8A78-9CA3278CF4AE}"/>
              </a:ext>
            </a:extLst>
          </p:cNvPr>
          <p:cNvGrpSpPr/>
          <p:nvPr userDrawn="1"/>
        </p:nvGrpSpPr>
        <p:grpSpPr>
          <a:xfrm>
            <a:off x="471600" y="443753"/>
            <a:ext cx="1412891" cy="552898"/>
            <a:chOff x="3562350" y="3567113"/>
            <a:chExt cx="3476625" cy="1360487"/>
          </a:xfrm>
          <a:solidFill>
            <a:schemeClr val="accent1"/>
          </a:solidFill>
        </p:grpSpPr>
        <p:sp>
          <p:nvSpPr>
            <p:cNvPr id="10" name="Freeform 1">
              <a:extLst>
                <a:ext uri="{FF2B5EF4-FFF2-40B4-BE49-F238E27FC236}">
                  <a16:creationId xmlns:a16="http://schemas.microsoft.com/office/drawing/2014/main" id="{A91CD9E0-78A1-E844-9E19-A98DCA3FDD23}"/>
                </a:ext>
              </a:extLst>
            </p:cNvPr>
            <p:cNvSpPr>
              <a:spLocks noChangeArrowheads="1"/>
            </p:cNvSpPr>
            <p:nvPr/>
          </p:nvSpPr>
          <p:spPr bwMode="auto">
            <a:xfrm>
              <a:off x="4710113" y="3800475"/>
              <a:ext cx="1136650" cy="1127125"/>
            </a:xfrm>
            <a:custGeom>
              <a:avLst/>
              <a:gdLst>
                <a:gd name="T0" fmla="*/ 10 w 3158"/>
                <a:gd name="T1" fmla="*/ 1539 h 3130"/>
                <a:gd name="T2" fmla="*/ 1599 w 3158"/>
                <a:gd name="T3" fmla="*/ 13 h 3130"/>
                <a:gd name="T4" fmla="*/ 3148 w 3158"/>
                <a:gd name="T5" fmla="*/ 1584 h 3130"/>
                <a:gd name="T6" fmla="*/ 1560 w 3158"/>
                <a:gd name="T7" fmla="*/ 3116 h 3130"/>
                <a:gd name="T8" fmla="*/ 10 w 3158"/>
                <a:gd name="T9" fmla="*/ 1545 h 3130"/>
                <a:gd name="T10" fmla="*/ 10 w 3158"/>
                <a:gd name="T11" fmla="*/ 1539 h 3130"/>
                <a:gd name="T12" fmla="*/ 711 w 3158"/>
                <a:gd name="T13" fmla="*/ 1553 h 3130"/>
                <a:gd name="T14" fmla="*/ 1568 w 3158"/>
                <a:gd name="T15" fmla="*/ 2456 h 3130"/>
                <a:gd name="T16" fmla="*/ 2446 w 3158"/>
                <a:gd name="T17" fmla="*/ 1570 h 3130"/>
                <a:gd name="T18" fmla="*/ 1591 w 3158"/>
                <a:gd name="T19" fmla="*/ 662 h 3130"/>
                <a:gd name="T20" fmla="*/ 712 w 3158"/>
                <a:gd name="T21" fmla="*/ 1548 h 3130"/>
                <a:gd name="T22" fmla="*/ 711 w 3158"/>
                <a:gd name="T23" fmla="*/ 1553 h 3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58" h="3130">
                  <a:moveTo>
                    <a:pt x="10" y="1539"/>
                  </a:moveTo>
                  <a:cubicBezTo>
                    <a:pt x="19" y="790"/>
                    <a:pt x="578" y="0"/>
                    <a:pt x="1599" y="13"/>
                  </a:cubicBezTo>
                  <a:cubicBezTo>
                    <a:pt x="2619" y="26"/>
                    <a:pt x="3157" y="830"/>
                    <a:pt x="3148" y="1584"/>
                  </a:cubicBezTo>
                  <a:cubicBezTo>
                    <a:pt x="3138" y="2341"/>
                    <a:pt x="2579" y="3129"/>
                    <a:pt x="1560" y="3116"/>
                  </a:cubicBezTo>
                  <a:cubicBezTo>
                    <a:pt x="539" y="3104"/>
                    <a:pt x="0" y="2302"/>
                    <a:pt x="10" y="1545"/>
                  </a:cubicBezTo>
                  <a:lnTo>
                    <a:pt x="10" y="1539"/>
                  </a:lnTo>
                  <a:close/>
                  <a:moveTo>
                    <a:pt x="711" y="1553"/>
                  </a:moveTo>
                  <a:cubicBezTo>
                    <a:pt x="705" y="2065"/>
                    <a:pt x="1089" y="2451"/>
                    <a:pt x="1568" y="2456"/>
                  </a:cubicBezTo>
                  <a:cubicBezTo>
                    <a:pt x="2047" y="2462"/>
                    <a:pt x="2440" y="2087"/>
                    <a:pt x="2446" y="1570"/>
                  </a:cubicBezTo>
                  <a:cubicBezTo>
                    <a:pt x="2453" y="1054"/>
                    <a:pt x="2070" y="669"/>
                    <a:pt x="1591" y="662"/>
                  </a:cubicBezTo>
                  <a:cubicBezTo>
                    <a:pt x="1112" y="656"/>
                    <a:pt x="718" y="1032"/>
                    <a:pt x="712" y="1548"/>
                  </a:cubicBezTo>
                  <a:lnTo>
                    <a:pt x="711" y="15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1" name="Freeform 2">
              <a:extLst>
                <a:ext uri="{FF2B5EF4-FFF2-40B4-BE49-F238E27FC236}">
                  <a16:creationId xmlns:a16="http://schemas.microsoft.com/office/drawing/2014/main" id="{60FF600C-3CD7-B443-BBBD-AC259128FF35}"/>
                </a:ext>
              </a:extLst>
            </p:cNvPr>
            <p:cNvSpPr>
              <a:spLocks noChangeArrowheads="1"/>
            </p:cNvSpPr>
            <p:nvPr/>
          </p:nvSpPr>
          <p:spPr bwMode="auto">
            <a:xfrm>
              <a:off x="5969000" y="3567113"/>
              <a:ext cx="455613" cy="1338262"/>
            </a:xfrm>
            <a:custGeom>
              <a:avLst/>
              <a:gdLst>
                <a:gd name="T0" fmla="*/ 971 w 1264"/>
                <a:gd name="T1" fmla="*/ 3165 h 3717"/>
                <a:gd name="T2" fmla="*/ 765 w 1264"/>
                <a:gd name="T3" fmla="*/ 2983 h 3717"/>
                <a:gd name="T4" fmla="*/ 803 w 1264"/>
                <a:gd name="T5" fmla="*/ 9 h 3717"/>
                <a:gd name="T6" fmla="*/ 101 w 1264"/>
                <a:gd name="T7" fmla="*/ 0 h 3717"/>
                <a:gd name="T8" fmla="*/ 64 w 1264"/>
                <a:gd name="T9" fmla="*/ 2965 h 3717"/>
                <a:gd name="T10" fmla="*/ 696 w 1264"/>
                <a:gd name="T11" fmla="*/ 3708 h 3717"/>
                <a:gd name="T12" fmla="*/ 696 w 1264"/>
                <a:gd name="T13" fmla="*/ 3709 h 3717"/>
                <a:gd name="T14" fmla="*/ 1256 w 1264"/>
                <a:gd name="T15" fmla="*/ 3716 h 3717"/>
                <a:gd name="T16" fmla="*/ 1263 w 1264"/>
                <a:gd name="T17" fmla="*/ 3168 h 3717"/>
                <a:gd name="T18" fmla="*/ 971 w 1264"/>
                <a:gd name="T19" fmla="*/ 3165 h 3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4" h="3717">
                  <a:moveTo>
                    <a:pt x="971" y="3165"/>
                  </a:moveTo>
                  <a:cubicBezTo>
                    <a:pt x="971" y="3165"/>
                    <a:pt x="768" y="3164"/>
                    <a:pt x="765" y="2983"/>
                  </a:cubicBezTo>
                  <a:lnTo>
                    <a:pt x="803" y="9"/>
                  </a:lnTo>
                  <a:lnTo>
                    <a:pt x="101" y="0"/>
                  </a:lnTo>
                  <a:lnTo>
                    <a:pt x="64" y="2965"/>
                  </a:lnTo>
                  <a:cubicBezTo>
                    <a:pt x="64" y="2965"/>
                    <a:pt x="0" y="3699"/>
                    <a:pt x="696" y="3708"/>
                  </a:cubicBezTo>
                  <a:lnTo>
                    <a:pt x="696" y="3709"/>
                  </a:lnTo>
                  <a:lnTo>
                    <a:pt x="1256" y="3716"/>
                  </a:lnTo>
                  <a:lnTo>
                    <a:pt x="1263" y="3168"/>
                  </a:lnTo>
                  <a:lnTo>
                    <a:pt x="971" y="31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2" name="Freeform 3">
              <a:extLst>
                <a:ext uri="{FF2B5EF4-FFF2-40B4-BE49-F238E27FC236}">
                  <a16:creationId xmlns:a16="http://schemas.microsoft.com/office/drawing/2014/main" id="{B80BA92B-2653-FF4E-ABF3-0C30E823BD23}"/>
                </a:ext>
              </a:extLst>
            </p:cNvPr>
            <p:cNvSpPr>
              <a:spLocks noChangeArrowheads="1"/>
            </p:cNvSpPr>
            <p:nvPr/>
          </p:nvSpPr>
          <p:spPr bwMode="auto">
            <a:xfrm>
              <a:off x="3562350" y="3786188"/>
              <a:ext cx="1069975" cy="1127125"/>
            </a:xfrm>
            <a:custGeom>
              <a:avLst/>
              <a:gdLst>
                <a:gd name="T0" fmla="*/ 2366 w 2971"/>
                <a:gd name="T1" fmla="*/ 1976 h 3132"/>
                <a:gd name="T2" fmla="*/ 1569 w 2971"/>
                <a:gd name="T3" fmla="*/ 2468 h 3132"/>
                <a:gd name="T4" fmla="*/ 716 w 2971"/>
                <a:gd name="T5" fmla="*/ 1556 h 3132"/>
                <a:gd name="T6" fmla="*/ 966 w 2971"/>
                <a:gd name="T7" fmla="*/ 910 h 3132"/>
                <a:gd name="T8" fmla="*/ 1593 w 2971"/>
                <a:gd name="T9" fmla="*/ 667 h 3132"/>
                <a:gd name="T10" fmla="*/ 2376 w 2971"/>
                <a:gd name="T11" fmla="*/ 1201 h 3132"/>
                <a:gd name="T12" fmla="*/ 2970 w 2971"/>
                <a:gd name="T13" fmla="*/ 871 h 3132"/>
                <a:gd name="T14" fmla="*/ 1576 w 2971"/>
                <a:gd name="T15" fmla="*/ 12 h 3132"/>
                <a:gd name="T16" fmla="*/ 11 w 2971"/>
                <a:gd name="T17" fmla="*/ 1545 h 3132"/>
                <a:gd name="T18" fmla="*/ 1559 w 2971"/>
                <a:gd name="T19" fmla="*/ 3123 h 3132"/>
                <a:gd name="T20" fmla="*/ 2950 w 2971"/>
                <a:gd name="T21" fmla="*/ 2314 h 3132"/>
                <a:gd name="T22" fmla="*/ 2379 w 2971"/>
                <a:gd name="T23" fmla="*/ 1977 h 3132"/>
                <a:gd name="T24" fmla="*/ 2366 w 2971"/>
                <a:gd name="T25" fmla="*/ 1976 h 3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1" h="3132">
                  <a:moveTo>
                    <a:pt x="2366" y="1976"/>
                  </a:moveTo>
                  <a:cubicBezTo>
                    <a:pt x="2256" y="2216"/>
                    <a:pt x="2006" y="2472"/>
                    <a:pt x="1569" y="2468"/>
                  </a:cubicBezTo>
                  <a:cubicBezTo>
                    <a:pt x="1072" y="2462"/>
                    <a:pt x="710" y="2081"/>
                    <a:pt x="716" y="1556"/>
                  </a:cubicBezTo>
                  <a:cubicBezTo>
                    <a:pt x="720" y="1300"/>
                    <a:pt x="815" y="1064"/>
                    <a:pt x="966" y="910"/>
                  </a:cubicBezTo>
                  <a:cubicBezTo>
                    <a:pt x="1138" y="742"/>
                    <a:pt x="1337" y="657"/>
                    <a:pt x="1593" y="667"/>
                  </a:cubicBezTo>
                  <a:cubicBezTo>
                    <a:pt x="1976" y="670"/>
                    <a:pt x="2254" y="891"/>
                    <a:pt x="2376" y="1201"/>
                  </a:cubicBezTo>
                  <a:lnTo>
                    <a:pt x="2970" y="871"/>
                  </a:lnTo>
                  <a:cubicBezTo>
                    <a:pt x="2716" y="350"/>
                    <a:pt x="2184" y="19"/>
                    <a:pt x="1576" y="12"/>
                  </a:cubicBezTo>
                  <a:cubicBezTo>
                    <a:pt x="696" y="0"/>
                    <a:pt x="22" y="683"/>
                    <a:pt x="11" y="1545"/>
                  </a:cubicBezTo>
                  <a:cubicBezTo>
                    <a:pt x="0" y="2384"/>
                    <a:pt x="634" y="3111"/>
                    <a:pt x="1559" y="3123"/>
                  </a:cubicBezTo>
                  <a:cubicBezTo>
                    <a:pt x="2184" y="3131"/>
                    <a:pt x="2691" y="2793"/>
                    <a:pt x="2950" y="2314"/>
                  </a:cubicBezTo>
                  <a:lnTo>
                    <a:pt x="2379" y="1977"/>
                  </a:lnTo>
                  <a:lnTo>
                    <a:pt x="2366" y="19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4">
              <a:extLst>
                <a:ext uri="{FF2B5EF4-FFF2-40B4-BE49-F238E27FC236}">
                  <a16:creationId xmlns:a16="http://schemas.microsoft.com/office/drawing/2014/main" id="{66CC0EB8-DD1B-0940-94D2-A50C3B189C76}"/>
                </a:ext>
              </a:extLst>
            </p:cNvPr>
            <p:cNvSpPr>
              <a:spLocks noChangeArrowheads="1"/>
            </p:cNvSpPr>
            <p:nvPr/>
          </p:nvSpPr>
          <p:spPr bwMode="auto">
            <a:xfrm>
              <a:off x="6546850" y="3575050"/>
              <a:ext cx="492125" cy="1338263"/>
            </a:xfrm>
            <a:custGeom>
              <a:avLst/>
              <a:gdLst>
                <a:gd name="T0" fmla="*/ 960 w 1365"/>
                <a:gd name="T1" fmla="*/ 3164 h 3718"/>
                <a:gd name="T2" fmla="*/ 753 w 1365"/>
                <a:gd name="T3" fmla="*/ 2983 h 3718"/>
                <a:gd name="T4" fmla="*/ 773 w 1365"/>
                <a:gd name="T5" fmla="*/ 1401 h 3718"/>
                <a:gd name="T6" fmla="*/ 1336 w 1365"/>
                <a:gd name="T7" fmla="*/ 1408 h 3718"/>
                <a:gd name="T8" fmla="*/ 1343 w 1365"/>
                <a:gd name="T9" fmla="*/ 860 h 3718"/>
                <a:gd name="T10" fmla="*/ 780 w 1365"/>
                <a:gd name="T11" fmla="*/ 853 h 3718"/>
                <a:gd name="T12" fmla="*/ 791 w 1365"/>
                <a:gd name="T13" fmla="*/ 9 h 3718"/>
                <a:gd name="T14" fmla="*/ 89 w 1365"/>
                <a:gd name="T15" fmla="*/ 0 h 3718"/>
                <a:gd name="T16" fmla="*/ 51 w 1365"/>
                <a:gd name="T17" fmla="*/ 2965 h 3718"/>
                <a:gd name="T18" fmla="*/ 683 w 1365"/>
                <a:gd name="T19" fmla="*/ 3708 h 3718"/>
                <a:gd name="T20" fmla="*/ 684 w 1365"/>
                <a:gd name="T21" fmla="*/ 3708 h 3718"/>
                <a:gd name="T22" fmla="*/ 1357 w 1365"/>
                <a:gd name="T23" fmla="*/ 3717 h 3718"/>
                <a:gd name="T24" fmla="*/ 1364 w 1365"/>
                <a:gd name="T25" fmla="*/ 3169 h 3718"/>
                <a:gd name="T26" fmla="*/ 960 w 1365"/>
                <a:gd name="T27" fmla="*/ 3164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5" h="3718">
                  <a:moveTo>
                    <a:pt x="960" y="3164"/>
                  </a:moveTo>
                  <a:cubicBezTo>
                    <a:pt x="960" y="3164"/>
                    <a:pt x="756" y="3164"/>
                    <a:pt x="753" y="2983"/>
                  </a:cubicBezTo>
                  <a:lnTo>
                    <a:pt x="773" y="1401"/>
                  </a:lnTo>
                  <a:lnTo>
                    <a:pt x="1336" y="1408"/>
                  </a:lnTo>
                  <a:lnTo>
                    <a:pt x="1343" y="860"/>
                  </a:lnTo>
                  <a:lnTo>
                    <a:pt x="780" y="853"/>
                  </a:lnTo>
                  <a:lnTo>
                    <a:pt x="791" y="9"/>
                  </a:lnTo>
                  <a:lnTo>
                    <a:pt x="89" y="0"/>
                  </a:lnTo>
                  <a:lnTo>
                    <a:pt x="51" y="2965"/>
                  </a:lnTo>
                  <a:cubicBezTo>
                    <a:pt x="51" y="2965"/>
                    <a:pt x="0" y="3701"/>
                    <a:pt x="683" y="3708"/>
                  </a:cubicBezTo>
                  <a:lnTo>
                    <a:pt x="684" y="3708"/>
                  </a:lnTo>
                  <a:lnTo>
                    <a:pt x="1357" y="3717"/>
                  </a:lnTo>
                  <a:lnTo>
                    <a:pt x="1364" y="3169"/>
                  </a:lnTo>
                  <a:lnTo>
                    <a:pt x="960" y="31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grpSp>
        <p:nvGrpSpPr>
          <p:cNvPr id="19" name="Group 18">
            <a:extLst>
              <a:ext uri="{FF2B5EF4-FFF2-40B4-BE49-F238E27FC236}">
                <a16:creationId xmlns:a16="http://schemas.microsoft.com/office/drawing/2014/main" id="{F58BC3A5-E80A-5044-852C-D11CAB1C8C6A}"/>
              </a:ext>
            </a:extLst>
          </p:cNvPr>
          <p:cNvGrpSpPr/>
          <p:nvPr userDrawn="1"/>
        </p:nvGrpSpPr>
        <p:grpSpPr>
          <a:xfrm>
            <a:off x="-7916" y="-10077"/>
            <a:ext cx="12193199" cy="6868077"/>
            <a:chOff x="3392488" y="1893888"/>
            <a:chExt cx="1028700" cy="579437"/>
          </a:xfrm>
        </p:grpSpPr>
        <p:sp>
          <p:nvSpPr>
            <p:cNvPr id="20" name="Freeform 51">
              <a:extLst>
                <a:ext uri="{FF2B5EF4-FFF2-40B4-BE49-F238E27FC236}">
                  <a16:creationId xmlns:a16="http://schemas.microsoft.com/office/drawing/2014/main" id="{ED1895C3-D17F-584F-BC39-63BAFE6C80BC}"/>
                </a:ext>
              </a:extLst>
            </p:cNvPr>
            <p:cNvSpPr>
              <a:spLocks noChangeArrowheads="1"/>
            </p:cNvSpPr>
            <p:nvPr/>
          </p:nvSpPr>
          <p:spPr bwMode="auto">
            <a:xfrm>
              <a:off x="3770313" y="1893888"/>
              <a:ext cx="334962" cy="144462"/>
            </a:xfrm>
            <a:custGeom>
              <a:avLst/>
              <a:gdLst>
                <a:gd name="T0" fmla="*/ 50 w 932"/>
                <a:gd name="T1" fmla="*/ 260 h 400"/>
                <a:gd name="T2" fmla="*/ 345 w 932"/>
                <a:gd name="T3" fmla="*/ 339 h 400"/>
                <a:gd name="T4" fmla="*/ 931 w 932"/>
                <a:gd name="T5" fmla="*/ 0 h 400"/>
                <a:gd name="T6" fmla="*/ 83 w 932"/>
                <a:gd name="T7" fmla="*/ 0 h 400"/>
                <a:gd name="T8" fmla="*/ 50 w 932"/>
                <a:gd name="T9" fmla="*/ 260 h 400"/>
              </a:gdLst>
              <a:ahLst/>
              <a:cxnLst>
                <a:cxn ang="0">
                  <a:pos x="T0" y="T1"/>
                </a:cxn>
                <a:cxn ang="0">
                  <a:pos x="T2" y="T3"/>
                </a:cxn>
                <a:cxn ang="0">
                  <a:pos x="T4" y="T5"/>
                </a:cxn>
                <a:cxn ang="0">
                  <a:pos x="T6" y="T7"/>
                </a:cxn>
                <a:cxn ang="0">
                  <a:pos x="T8" y="T9"/>
                </a:cxn>
              </a:cxnLst>
              <a:rect l="0" t="0" r="r" b="b"/>
              <a:pathLst>
                <a:path w="932" h="400">
                  <a:moveTo>
                    <a:pt x="50" y="260"/>
                  </a:moveTo>
                  <a:cubicBezTo>
                    <a:pt x="110" y="363"/>
                    <a:pt x="242" y="399"/>
                    <a:pt x="345" y="339"/>
                  </a:cubicBezTo>
                  <a:lnTo>
                    <a:pt x="931" y="0"/>
                  </a:lnTo>
                  <a:lnTo>
                    <a:pt x="83" y="0"/>
                  </a:lnTo>
                  <a:cubicBezTo>
                    <a:pt x="17" y="68"/>
                    <a:pt x="0" y="174"/>
                    <a:pt x="50" y="260"/>
                  </a:cubicBezTo>
                </a:path>
              </a:pathLst>
            </a:custGeom>
            <a:solidFill>
              <a:schemeClr val="accent6">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1" name="Freeform 52">
              <a:extLst>
                <a:ext uri="{FF2B5EF4-FFF2-40B4-BE49-F238E27FC236}">
                  <a16:creationId xmlns:a16="http://schemas.microsoft.com/office/drawing/2014/main" id="{EA6F86D0-786B-7E45-B3CB-6B6E10FB3C2F}"/>
                </a:ext>
              </a:extLst>
            </p:cNvPr>
            <p:cNvSpPr>
              <a:spLocks noChangeArrowheads="1"/>
            </p:cNvSpPr>
            <p:nvPr/>
          </p:nvSpPr>
          <p:spPr bwMode="auto">
            <a:xfrm>
              <a:off x="3392488" y="2146300"/>
              <a:ext cx="77787" cy="153988"/>
            </a:xfrm>
            <a:custGeom>
              <a:avLst/>
              <a:gdLst>
                <a:gd name="T0" fmla="*/ 155 w 215"/>
                <a:gd name="T1" fmla="*/ 105 h 428"/>
                <a:gd name="T2" fmla="*/ 0 w 215"/>
                <a:gd name="T3" fmla="*/ 0 h 428"/>
                <a:gd name="T4" fmla="*/ 0 w 215"/>
                <a:gd name="T5" fmla="*/ 66 h 428"/>
                <a:gd name="T6" fmla="*/ 98 w 215"/>
                <a:gd name="T7" fmla="*/ 138 h 428"/>
                <a:gd name="T8" fmla="*/ 113 w 215"/>
                <a:gd name="T9" fmla="*/ 252 h 428"/>
                <a:gd name="T10" fmla="*/ 43 w 215"/>
                <a:gd name="T11" fmla="*/ 344 h 428"/>
                <a:gd name="T12" fmla="*/ 0 w 215"/>
                <a:gd name="T13" fmla="*/ 360 h 428"/>
                <a:gd name="T14" fmla="*/ 0 w 215"/>
                <a:gd name="T15" fmla="*/ 427 h 428"/>
                <a:gd name="T16" fmla="*/ 76 w 215"/>
                <a:gd name="T17" fmla="*/ 400 h 428"/>
                <a:gd name="T18" fmla="*/ 155 w 215"/>
                <a:gd name="T19" fmla="*/ 10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428">
                  <a:moveTo>
                    <a:pt x="155" y="105"/>
                  </a:moveTo>
                  <a:cubicBezTo>
                    <a:pt x="121" y="46"/>
                    <a:pt x="63" y="10"/>
                    <a:pt x="0" y="0"/>
                  </a:cubicBezTo>
                  <a:lnTo>
                    <a:pt x="0" y="66"/>
                  </a:lnTo>
                  <a:cubicBezTo>
                    <a:pt x="41" y="76"/>
                    <a:pt x="77" y="101"/>
                    <a:pt x="98" y="138"/>
                  </a:cubicBezTo>
                  <a:cubicBezTo>
                    <a:pt x="118" y="173"/>
                    <a:pt x="123" y="213"/>
                    <a:pt x="113" y="252"/>
                  </a:cubicBezTo>
                  <a:cubicBezTo>
                    <a:pt x="102" y="291"/>
                    <a:pt x="78" y="324"/>
                    <a:pt x="43" y="344"/>
                  </a:cubicBezTo>
                  <a:cubicBezTo>
                    <a:pt x="30" y="351"/>
                    <a:pt x="15" y="357"/>
                    <a:pt x="0" y="360"/>
                  </a:cubicBezTo>
                  <a:lnTo>
                    <a:pt x="0" y="427"/>
                  </a:lnTo>
                  <a:cubicBezTo>
                    <a:pt x="26" y="423"/>
                    <a:pt x="52" y="414"/>
                    <a:pt x="76" y="400"/>
                  </a:cubicBezTo>
                  <a:cubicBezTo>
                    <a:pt x="179" y="341"/>
                    <a:pt x="214" y="209"/>
                    <a:pt x="155" y="105"/>
                  </a:cubicBezTo>
                </a:path>
              </a:pathLst>
            </a:custGeom>
            <a:solidFill>
              <a:schemeClr val="accent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2" name="Freeform 53">
              <a:extLst>
                <a:ext uri="{FF2B5EF4-FFF2-40B4-BE49-F238E27FC236}">
                  <a16:creationId xmlns:a16="http://schemas.microsoft.com/office/drawing/2014/main" id="{C4C3AFB7-49E7-EE4D-A1B4-2FC5AA04266E}"/>
                </a:ext>
              </a:extLst>
            </p:cNvPr>
            <p:cNvSpPr>
              <a:spLocks noChangeArrowheads="1"/>
            </p:cNvSpPr>
            <p:nvPr/>
          </p:nvSpPr>
          <p:spPr bwMode="auto">
            <a:xfrm>
              <a:off x="3892550" y="2281238"/>
              <a:ext cx="423863" cy="192087"/>
            </a:xfrm>
            <a:custGeom>
              <a:avLst/>
              <a:gdLst>
                <a:gd name="T0" fmla="*/ 1116 w 1176"/>
                <a:gd name="T1" fmla="*/ 139 h 535"/>
                <a:gd name="T2" fmla="*/ 821 w 1176"/>
                <a:gd name="T3" fmla="*/ 60 h 535"/>
                <a:gd name="T4" fmla="*/ 0 w 1176"/>
                <a:gd name="T5" fmla="*/ 534 h 535"/>
                <a:gd name="T6" fmla="*/ 864 w 1176"/>
                <a:gd name="T7" fmla="*/ 534 h 535"/>
                <a:gd name="T8" fmla="*/ 1037 w 1176"/>
                <a:gd name="T9" fmla="*/ 434 h 535"/>
                <a:gd name="T10" fmla="*/ 1116 w 1176"/>
                <a:gd name="T11" fmla="*/ 139 h 535"/>
              </a:gdLst>
              <a:ahLst/>
              <a:cxnLst>
                <a:cxn ang="0">
                  <a:pos x="T0" y="T1"/>
                </a:cxn>
                <a:cxn ang="0">
                  <a:pos x="T2" y="T3"/>
                </a:cxn>
                <a:cxn ang="0">
                  <a:pos x="T4" y="T5"/>
                </a:cxn>
                <a:cxn ang="0">
                  <a:pos x="T6" y="T7"/>
                </a:cxn>
                <a:cxn ang="0">
                  <a:pos x="T8" y="T9"/>
                </a:cxn>
                <a:cxn ang="0">
                  <a:pos x="T10" y="T11"/>
                </a:cxn>
              </a:cxnLst>
              <a:rect l="0" t="0" r="r" b="b"/>
              <a:pathLst>
                <a:path w="1176" h="535">
                  <a:moveTo>
                    <a:pt x="1116" y="139"/>
                  </a:moveTo>
                  <a:cubicBezTo>
                    <a:pt x="1056" y="35"/>
                    <a:pt x="924" y="0"/>
                    <a:pt x="821" y="60"/>
                  </a:cubicBezTo>
                  <a:lnTo>
                    <a:pt x="0" y="534"/>
                  </a:lnTo>
                  <a:lnTo>
                    <a:pt x="864" y="534"/>
                  </a:lnTo>
                  <a:lnTo>
                    <a:pt x="1037" y="434"/>
                  </a:lnTo>
                  <a:cubicBezTo>
                    <a:pt x="1140" y="374"/>
                    <a:pt x="1175" y="242"/>
                    <a:pt x="1116" y="139"/>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3" name="Freeform 54">
              <a:extLst>
                <a:ext uri="{FF2B5EF4-FFF2-40B4-BE49-F238E27FC236}">
                  <a16:creationId xmlns:a16="http://schemas.microsoft.com/office/drawing/2014/main" id="{9EA2A289-CD17-0645-BBF0-3200A388B3BE}"/>
                </a:ext>
              </a:extLst>
            </p:cNvPr>
            <p:cNvSpPr>
              <a:spLocks noChangeArrowheads="1"/>
            </p:cNvSpPr>
            <p:nvPr/>
          </p:nvSpPr>
          <p:spPr bwMode="auto">
            <a:xfrm>
              <a:off x="4327525" y="2182813"/>
              <a:ext cx="93663" cy="155575"/>
            </a:xfrm>
            <a:custGeom>
              <a:avLst/>
              <a:gdLst>
                <a:gd name="T0" fmla="*/ 139 w 258"/>
                <a:gd name="T1" fmla="*/ 29 h 433"/>
                <a:gd name="T2" fmla="*/ 60 w 258"/>
                <a:gd name="T3" fmla="*/ 324 h 433"/>
                <a:gd name="T4" fmla="*/ 247 w 258"/>
                <a:gd name="T5" fmla="*/ 432 h 433"/>
                <a:gd name="T6" fmla="*/ 257 w 258"/>
                <a:gd name="T7" fmla="*/ 432 h 433"/>
                <a:gd name="T8" fmla="*/ 257 w 258"/>
                <a:gd name="T9" fmla="*/ 366 h 433"/>
                <a:gd name="T10" fmla="*/ 247 w 258"/>
                <a:gd name="T11" fmla="*/ 367 h 433"/>
                <a:gd name="T12" fmla="*/ 116 w 258"/>
                <a:gd name="T13" fmla="*/ 291 h 433"/>
                <a:gd name="T14" fmla="*/ 101 w 258"/>
                <a:gd name="T15" fmla="*/ 177 h 433"/>
                <a:gd name="T16" fmla="*/ 171 w 258"/>
                <a:gd name="T17" fmla="*/ 86 h 433"/>
                <a:gd name="T18" fmla="*/ 247 w 258"/>
                <a:gd name="T19" fmla="*/ 66 h 433"/>
                <a:gd name="T20" fmla="*/ 247 w 258"/>
                <a:gd name="T21" fmla="*/ 66 h 433"/>
                <a:gd name="T22" fmla="*/ 257 w 258"/>
                <a:gd name="T23" fmla="*/ 66 h 433"/>
                <a:gd name="T24" fmla="*/ 257 w 258"/>
                <a:gd name="T25" fmla="*/ 0 h 433"/>
                <a:gd name="T26" fmla="*/ 247 w 258"/>
                <a:gd name="T27" fmla="*/ 0 h 433"/>
                <a:gd name="T28" fmla="*/ 139 w 258"/>
                <a:gd name="T29" fmla="*/ 29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433">
                  <a:moveTo>
                    <a:pt x="139" y="29"/>
                  </a:moveTo>
                  <a:cubicBezTo>
                    <a:pt x="36" y="89"/>
                    <a:pt x="0" y="221"/>
                    <a:pt x="60" y="324"/>
                  </a:cubicBezTo>
                  <a:cubicBezTo>
                    <a:pt x="100" y="393"/>
                    <a:pt x="172" y="432"/>
                    <a:pt x="247" y="432"/>
                  </a:cubicBezTo>
                  <a:cubicBezTo>
                    <a:pt x="250" y="432"/>
                    <a:pt x="253" y="432"/>
                    <a:pt x="257" y="432"/>
                  </a:cubicBezTo>
                  <a:lnTo>
                    <a:pt x="257" y="366"/>
                  </a:lnTo>
                  <a:cubicBezTo>
                    <a:pt x="253" y="367"/>
                    <a:pt x="250" y="367"/>
                    <a:pt x="247" y="367"/>
                  </a:cubicBezTo>
                  <a:cubicBezTo>
                    <a:pt x="193" y="367"/>
                    <a:pt x="143" y="338"/>
                    <a:pt x="116" y="291"/>
                  </a:cubicBezTo>
                  <a:cubicBezTo>
                    <a:pt x="96" y="257"/>
                    <a:pt x="90" y="216"/>
                    <a:pt x="101" y="177"/>
                  </a:cubicBezTo>
                  <a:cubicBezTo>
                    <a:pt x="111" y="138"/>
                    <a:pt x="137" y="106"/>
                    <a:pt x="171" y="86"/>
                  </a:cubicBezTo>
                  <a:cubicBezTo>
                    <a:pt x="194" y="73"/>
                    <a:pt x="220" y="66"/>
                    <a:pt x="247" y="66"/>
                  </a:cubicBezTo>
                  <a:lnTo>
                    <a:pt x="247" y="66"/>
                  </a:lnTo>
                  <a:cubicBezTo>
                    <a:pt x="250" y="66"/>
                    <a:pt x="253" y="66"/>
                    <a:pt x="257" y="66"/>
                  </a:cubicBezTo>
                  <a:lnTo>
                    <a:pt x="257" y="0"/>
                  </a:lnTo>
                  <a:cubicBezTo>
                    <a:pt x="253" y="0"/>
                    <a:pt x="250" y="0"/>
                    <a:pt x="247" y="0"/>
                  </a:cubicBezTo>
                  <a:cubicBezTo>
                    <a:pt x="210" y="0"/>
                    <a:pt x="173" y="9"/>
                    <a:pt x="139" y="29"/>
                  </a:cubicBezTo>
                </a:path>
              </a:pathLst>
            </a:custGeom>
            <a:solidFill>
              <a:schemeClr val="accent1">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1535983067"/>
      </p:ext>
    </p:extLst>
  </p:cSld>
  <p:clrMapOvr>
    <a:masterClrMapping/>
  </p:clrMapOvr>
  <p:extLst>
    <p:ext uri="{DCECCB84-F9BA-43D5-87BE-67443E8EF086}">
      <p15:sldGuideLst xmlns:p15="http://schemas.microsoft.com/office/powerpoint/2012/main">
        <p15:guide id="1" orient="horz" pos="3703">
          <p15:clr>
            <a:srgbClr val="FBAE40"/>
          </p15:clr>
        </p15:guide>
        <p15:guide id="2" pos="442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in circl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569E6-90FA-4CC2-8D14-9F7CF2E0946B}"/>
              </a:ext>
            </a:extLst>
          </p:cNvPr>
          <p:cNvSpPr>
            <a:spLocks noGrp="1"/>
          </p:cNvSpPr>
          <p:nvPr>
            <p:ph type="title"/>
          </p:nvPr>
        </p:nvSpPr>
        <p:spPr/>
        <p:txBody>
          <a:bodyPr/>
          <a:lstStyle/>
          <a:p>
            <a:r>
              <a:rPr lang="en-US" dirty="0"/>
              <a:t>Click to edit Master title style</a:t>
            </a:r>
            <a:endParaRPr lang="en-GB" dirty="0"/>
          </a:p>
        </p:txBody>
      </p:sp>
      <p:sp>
        <p:nvSpPr>
          <p:cNvPr id="3" name="Date Placeholder 2">
            <a:extLst>
              <a:ext uri="{FF2B5EF4-FFF2-40B4-BE49-F238E27FC236}">
                <a16:creationId xmlns:a16="http://schemas.microsoft.com/office/drawing/2014/main" id="{8DD50494-86A7-4937-97D4-37C2408F5241}"/>
              </a:ext>
            </a:extLst>
          </p:cNvPr>
          <p:cNvSpPr>
            <a:spLocks noGrp="1"/>
          </p:cNvSpPr>
          <p:nvPr>
            <p:ph type="dt" sz="half" idx="10"/>
          </p:nvPr>
        </p:nvSpPr>
        <p:spPr/>
        <p:txBody>
          <a:bodyPr/>
          <a:lstStyle/>
          <a:p>
            <a:fld id="{00B7A701-B70B-48A4-9EFB-4F00A3212127}" type="datetime3">
              <a:rPr lang="en-US" noProof="0" smtClean="0"/>
              <a:t>22 December 2023</a:t>
            </a:fld>
            <a:endParaRPr lang="en-GB" noProof="0" dirty="0"/>
          </a:p>
        </p:txBody>
      </p:sp>
      <p:sp>
        <p:nvSpPr>
          <p:cNvPr id="4" name="Footer Placeholder 3">
            <a:extLst>
              <a:ext uri="{FF2B5EF4-FFF2-40B4-BE49-F238E27FC236}">
                <a16:creationId xmlns:a16="http://schemas.microsoft.com/office/drawing/2014/main" id="{823A535C-B684-4A5A-A436-989BCF2136EF}"/>
              </a:ext>
            </a:extLst>
          </p:cNvPr>
          <p:cNvSpPr>
            <a:spLocks noGrp="1"/>
          </p:cNvSpPr>
          <p:nvPr>
            <p:ph type="ftr" sz="quarter" idx="11"/>
          </p:nvPr>
        </p:nvSpPr>
        <p:spPr/>
        <p:txBody>
          <a:bodyPr/>
          <a:lstStyle/>
          <a:p>
            <a:pPr>
              <a:lnSpc>
                <a:spcPts val="970"/>
              </a:lnSpc>
            </a:pPr>
            <a:r>
              <a:rPr lang="en-GB" dirty="0">
                <a:solidFill>
                  <a:schemeClr val="accent2"/>
                </a:solidFill>
              </a:rPr>
              <a:t>© Colt Technology Services  |  Presentation title here</a:t>
            </a:r>
          </a:p>
        </p:txBody>
      </p:sp>
      <p:sp>
        <p:nvSpPr>
          <p:cNvPr id="5" name="Slide Number Placeholder 4">
            <a:extLst>
              <a:ext uri="{FF2B5EF4-FFF2-40B4-BE49-F238E27FC236}">
                <a16:creationId xmlns:a16="http://schemas.microsoft.com/office/drawing/2014/main" id="{AAF80D53-ACFA-4215-8119-91E082705FEE}"/>
              </a:ext>
            </a:extLst>
          </p:cNvPr>
          <p:cNvSpPr>
            <a:spLocks noGrp="1"/>
          </p:cNvSpPr>
          <p:nvPr>
            <p:ph type="sldNum" sz="quarter" idx="12"/>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sp>
        <p:nvSpPr>
          <p:cNvPr id="7" name="Text Placeholder 6">
            <a:extLst>
              <a:ext uri="{FF2B5EF4-FFF2-40B4-BE49-F238E27FC236}">
                <a16:creationId xmlns:a16="http://schemas.microsoft.com/office/drawing/2014/main" id="{2C05F560-0912-4033-93C3-F7C73BE411B9}"/>
              </a:ext>
            </a:extLst>
          </p:cNvPr>
          <p:cNvSpPr>
            <a:spLocks noGrp="1" noChangeAspect="1"/>
          </p:cNvSpPr>
          <p:nvPr>
            <p:ph type="body" sz="quarter" idx="13"/>
          </p:nvPr>
        </p:nvSpPr>
        <p:spPr>
          <a:xfrm>
            <a:off x="1404000" y="1044000"/>
            <a:ext cx="2700000" cy="2700000"/>
          </a:xfrm>
          <a:prstGeom prst="ellipse">
            <a:avLst/>
          </a:prstGeom>
          <a:solidFill>
            <a:schemeClr val="accent1"/>
          </a:solidFill>
        </p:spPr>
        <p:txBody>
          <a:bodyPr bIns="72000" anchor="ctr" anchorCtr="0"/>
          <a:lstStyle>
            <a:lvl1pPr algn="ctr">
              <a:lnSpc>
                <a:spcPts val="1590"/>
              </a:lnSpc>
              <a:defRPr sz="1410">
                <a:solidFill>
                  <a:schemeClr val="bg1"/>
                </a:solidFill>
              </a:defRPr>
            </a:lvl1pPr>
          </a:lstStyle>
          <a:p>
            <a:pPr lvl="0"/>
            <a:r>
              <a:rPr lang="en-US" dirty="0"/>
              <a:t>Click to edit Master text styles</a:t>
            </a:r>
            <a:endParaRPr lang="en-GB" dirty="0"/>
          </a:p>
        </p:txBody>
      </p:sp>
      <p:sp>
        <p:nvSpPr>
          <p:cNvPr id="8" name="Text Placeholder 6">
            <a:extLst>
              <a:ext uri="{FF2B5EF4-FFF2-40B4-BE49-F238E27FC236}">
                <a16:creationId xmlns:a16="http://schemas.microsoft.com/office/drawing/2014/main" id="{A5CDB310-1C7B-49D2-A591-201A8C5DAC10}"/>
              </a:ext>
            </a:extLst>
          </p:cNvPr>
          <p:cNvSpPr>
            <a:spLocks noGrp="1" noChangeAspect="1"/>
          </p:cNvSpPr>
          <p:nvPr>
            <p:ph type="body" sz="quarter" idx="14"/>
          </p:nvPr>
        </p:nvSpPr>
        <p:spPr>
          <a:xfrm>
            <a:off x="4746600" y="1044000"/>
            <a:ext cx="2700000" cy="2700000"/>
          </a:xfrm>
          <a:prstGeom prst="ellipse">
            <a:avLst/>
          </a:prstGeom>
          <a:solidFill>
            <a:schemeClr val="accent4"/>
          </a:solidFill>
        </p:spPr>
        <p:txBody>
          <a:bodyPr bIns="72000" anchor="ctr" anchorCtr="0"/>
          <a:lstStyle>
            <a:lvl1pPr algn="ctr">
              <a:lnSpc>
                <a:spcPts val="1590"/>
              </a:lnSpc>
              <a:defRPr sz="1410">
                <a:solidFill>
                  <a:schemeClr val="bg1"/>
                </a:solidFill>
              </a:defRPr>
            </a:lvl1pPr>
          </a:lstStyle>
          <a:p>
            <a:pPr lvl="0"/>
            <a:r>
              <a:rPr lang="en-US" dirty="0"/>
              <a:t>Click to edit Master text styles</a:t>
            </a:r>
            <a:endParaRPr lang="en-GB" dirty="0"/>
          </a:p>
        </p:txBody>
      </p:sp>
      <p:sp>
        <p:nvSpPr>
          <p:cNvPr id="9" name="Text Placeholder 6">
            <a:extLst>
              <a:ext uri="{FF2B5EF4-FFF2-40B4-BE49-F238E27FC236}">
                <a16:creationId xmlns:a16="http://schemas.microsoft.com/office/drawing/2014/main" id="{9EA1E10F-8C41-4F78-A800-FA323D20EB75}"/>
              </a:ext>
            </a:extLst>
          </p:cNvPr>
          <p:cNvSpPr>
            <a:spLocks noGrp="1" noChangeAspect="1"/>
          </p:cNvSpPr>
          <p:nvPr>
            <p:ph type="body" sz="quarter" idx="15"/>
          </p:nvPr>
        </p:nvSpPr>
        <p:spPr>
          <a:xfrm>
            <a:off x="8089200" y="1044000"/>
            <a:ext cx="2700000" cy="2700000"/>
          </a:xfrm>
          <a:prstGeom prst="ellipse">
            <a:avLst/>
          </a:prstGeom>
          <a:solidFill>
            <a:schemeClr val="accent5"/>
          </a:solidFill>
        </p:spPr>
        <p:txBody>
          <a:bodyPr bIns="72000" anchor="ctr" anchorCtr="0"/>
          <a:lstStyle>
            <a:lvl1pPr algn="ctr">
              <a:lnSpc>
                <a:spcPts val="1590"/>
              </a:lnSpc>
              <a:defRPr sz="1410">
                <a:solidFill>
                  <a:schemeClr val="bg1"/>
                </a:solidFill>
              </a:defRPr>
            </a:lvl1pPr>
          </a:lstStyle>
          <a:p>
            <a:pPr lvl="0"/>
            <a:r>
              <a:rPr lang="en-US" dirty="0"/>
              <a:t>Click to edit Master text styles</a:t>
            </a:r>
            <a:endParaRPr lang="en-GB" dirty="0"/>
          </a:p>
        </p:txBody>
      </p:sp>
      <p:sp>
        <p:nvSpPr>
          <p:cNvPr id="10" name="Text Placeholder 6">
            <a:extLst>
              <a:ext uri="{FF2B5EF4-FFF2-40B4-BE49-F238E27FC236}">
                <a16:creationId xmlns:a16="http://schemas.microsoft.com/office/drawing/2014/main" id="{93B985E0-59D5-477E-A3D4-71BD2C33554A}"/>
              </a:ext>
            </a:extLst>
          </p:cNvPr>
          <p:cNvSpPr>
            <a:spLocks noGrp="1" noChangeAspect="1"/>
          </p:cNvSpPr>
          <p:nvPr>
            <p:ph type="body" sz="quarter" idx="16"/>
          </p:nvPr>
        </p:nvSpPr>
        <p:spPr>
          <a:xfrm>
            <a:off x="3075300" y="3600000"/>
            <a:ext cx="2700000" cy="2700000"/>
          </a:xfrm>
          <a:prstGeom prst="ellipse">
            <a:avLst/>
          </a:prstGeom>
          <a:solidFill>
            <a:schemeClr val="accent3"/>
          </a:solidFill>
        </p:spPr>
        <p:txBody>
          <a:bodyPr bIns="72000" anchor="ctr" anchorCtr="0"/>
          <a:lstStyle>
            <a:lvl1pPr algn="ctr">
              <a:lnSpc>
                <a:spcPts val="1590"/>
              </a:lnSpc>
              <a:defRPr sz="1410">
                <a:solidFill>
                  <a:schemeClr val="bg1"/>
                </a:solidFill>
              </a:defRPr>
            </a:lvl1pPr>
          </a:lstStyle>
          <a:p>
            <a:pPr lvl="0"/>
            <a:r>
              <a:rPr lang="en-US" dirty="0"/>
              <a:t>Click to edit Master text styles</a:t>
            </a:r>
            <a:endParaRPr lang="en-GB" dirty="0"/>
          </a:p>
        </p:txBody>
      </p:sp>
      <p:sp>
        <p:nvSpPr>
          <p:cNvPr id="11" name="Text Placeholder 6">
            <a:extLst>
              <a:ext uri="{FF2B5EF4-FFF2-40B4-BE49-F238E27FC236}">
                <a16:creationId xmlns:a16="http://schemas.microsoft.com/office/drawing/2014/main" id="{13FF9E45-0FEC-4082-894A-E0B17AE72BC5}"/>
              </a:ext>
            </a:extLst>
          </p:cNvPr>
          <p:cNvSpPr>
            <a:spLocks noGrp="1" noChangeAspect="1"/>
          </p:cNvSpPr>
          <p:nvPr>
            <p:ph type="body" sz="quarter" idx="17"/>
          </p:nvPr>
        </p:nvSpPr>
        <p:spPr>
          <a:xfrm>
            <a:off x="6417900" y="3600000"/>
            <a:ext cx="2700000" cy="2700000"/>
          </a:xfrm>
          <a:prstGeom prst="ellipse">
            <a:avLst/>
          </a:prstGeom>
          <a:solidFill>
            <a:schemeClr val="accent6"/>
          </a:solidFill>
        </p:spPr>
        <p:txBody>
          <a:bodyPr bIns="72000" anchor="ctr" anchorCtr="0"/>
          <a:lstStyle>
            <a:lvl1pPr algn="ctr">
              <a:lnSpc>
                <a:spcPts val="1590"/>
              </a:lnSpc>
              <a:defRPr sz="1410">
                <a:solidFill>
                  <a:schemeClr val="bg1"/>
                </a:solidFill>
              </a:defRPr>
            </a:lvl1pPr>
          </a:lstStyle>
          <a:p>
            <a:pPr lvl="0"/>
            <a:r>
              <a:rPr lang="en-US" dirty="0"/>
              <a:t>Click to edit Master text styles</a:t>
            </a:r>
            <a:endParaRPr lang="en-GB" dirty="0"/>
          </a:p>
        </p:txBody>
      </p:sp>
    </p:spTree>
    <p:extLst>
      <p:ext uri="{BB962C8B-B14F-4D97-AF65-F5344CB8AC3E}">
        <p14:creationId xmlns:p14="http://schemas.microsoft.com/office/powerpoint/2010/main" val="282006778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rocess diagram">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0569E6-90FA-4CC2-8D14-9F7CF2E0946B}"/>
              </a:ext>
            </a:extLst>
          </p:cNvPr>
          <p:cNvSpPr>
            <a:spLocks noGrp="1"/>
          </p:cNvSpPr>
          <p:nvPr>
            <p:ph type="title"/>
          </p:nvPr>
        </p:nvSpPr>
        <p:spPr/>
        <p:txBody>
          <a:bodyPr/>
          <a:lstStyle/>
          <a:p>
            <a:r>
              <a:rPr lang="en-US" dirty="0"/>
              <a:t>Click to edit Master title style</a:t>
            </a:r>
            <a:endParaRPr lang="en-GB" dirty="0"/>
          </a:p>
        </p:txBody>
      </p:sp>
      <p:sp>
        <p:nvSpPr>
          <p:cNvPr id="3" name="Date Placeholder 2">
            <a:extLst>
              <a:ext uri="{FF2B5EF4-FFF2-40B4-BE49-F238E27FC236}">
                <a16:creationId xmlns:a16="http://schemas.microsoft.com/office/drawing/2014/main" id="{8DD50494-86A7-4937-97D4-37C2408F5241}"/>
              </a:ext>
            </a:extLst>
          </p:cNvPr>
          <p:cNvSpPr>
            <a:spLocks noGrp="1"/>
          </p:cNvSpPr>
          <p:nvPr>
            <p:ph type="dt" sz="half" idx="10"/>
          </p:nvPr>
        </p:nvSpPr>
        <p:spPr/>
        <p:txBody>
          <a:bodyPr/>
          <a:lstStyle/>
          <a:p>
            <a:fld id="{00B7A701-B70B-48A4-9EFB-4F00A3212127}" type="datetime3">
              <a:rPr lang="en-US" noProof="0" smtClean="0"/>
              <a:t>22 December 2023</a:t>
            </a:fld>
            <a:endParaRPr lang="en-GB" noProof="0" dirty="0"/>
          </a:p>
        </p:txBody>
      </p:sp>
      <p:sp>
        <p:nvSpPr>
          <p:cNvPr id="4" name="Footer Placeholder 3">
            <a:extLst>
              <a:ext uri="{FF2B5EF4-FFF2-40B4-BE49-F238E27FC236}">
                <a16:creationId xmlns:a16="http://schemas.microsoft.com/office/drawing/2014/main" id="{823A535C-B684-4A5A-A436-989BCF2136EF}"/>
              </a:ext>
            </a:extLst>
          </p:cNvPr>
          <p:cNvSpPr>
            <a:spLocks noGrp="1"/>
          </p:cNvSpPr>
          <p:nvPr>
            <p:ph type="ftr" sz="quarter" idx="11"/>
          </p:nvPr>
        </p:nvSpPr>
        <p:spPr/>
        <p:txBody>
          <a:bodyPr/>
          <a:lstStyle/>
          <a:p>
            <a:pPr>
              <a:lnSpc>
                <a:spcPts val="970"/>
              </a:lnSpc>
            </a:pPr>
            <a:r>
              <a:rPr lang="en-GB" dirty="0">
                <a:solidFill>
                  <a:schemeClr val="accent2"/>
                </a:solidFill>
              </a:rPr>
              <a:t>© Colt Technology Services  |  Presentation title here</a:t>
            </a:r>
          </a:p>
        </p:txBody>
      </p:sp>
      <p:sp>
        <p:nvSpPr>
          <p:cNvPr id="5" name="Slide Number Placeholder 4">
            <a:extLst>
              <a:ext uri="{FF2B5EF4-FFF2-40B4-BE49-F238E27FC236}">
                <a16:creationId xmlns:a16="http://schemas.microsoft.com/office/drawing/2014/main" id="{AAF80D53-ACFA-4215-8119-91E082705FEE}"/>
              </a:ext>
            </a:extLst>
          </p:cNvPr>
          <p:cNvSpPr>
            <a:spLocks noGrp="1"/>
          </p:cNvSpPr>
          <p:nvPr>
            <p:ph type="sldNum" sz="quarter" idx="12"/>
          </p:nvPr>
        </p:nvSpPr>
        <p:spPr>
          <a:xfrm>
            <a:off x="11278800" y="6400800"/>
            <a:ext cx="442800" cy="226800"/>
          </a:xfrm>
          <a:prstGeom prst="rect">
            <a:avLst/>
          </a:prstGeom>
        </p:spPr>
        <p:txBody>
          <a:body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sp>
        <p:nvSpPr>
          <p:cNvPr id="7" name="Text Placeholder 6">
            <a:extLst>
              <a:ext uri="{FF2B5EF4-FFF2-40B4-BE49-F238E27FC236}">
                <a16:creationId xmlns:a16="http://schemas.microsoft.com/office/drawing/2014/main" id="{2C05F560-0912-4033-93C3-F7C73BE411B9}"/>
              </a:ext>
            </a:extLst>
          </p:cNvPr>
          <p:cNvSpPr>
            <a:spLocks noGrp="1" noChangeAspect="1"/>
          </p:cNvSpPr>
          <p:nvPr>
            <p:ph type="body" sz="quarter" idx="13" hasCustomPrompt="1"/>
          </p:nvPr>
        </p:nvSpPr>
        <p:spPr>
          <a:xfrm>
            <a:off x="468000" y="1800000"/>
            <a:ext cx="1944000" cy="1944000"/>
          </a:xfrm>
          <a:prstGeom prst="ellipse">
            <a:avLst/>
          </a:prstGeom>
          <a:solidFill>
            <a:schemeClr val="accent1"/>
          </a:solidFill>
        </p:spPr>
        <p:txBody>
          <a:bodyPr bIns="72000" anchor="ctr" anchorCtr="0"/>
          <a:lstStyle>
            <a:lvl1pPr algn="ctr">
              <a:lnSpc>
                <a:spcPts val="6000"/>
              </a:lnSpc>
              <a:spcAft>
                <a:spcPts val="1200"/>
              </a:spcAft>
              <a:defRPr sz="6000">
                <a:solidFill>
                  <a:schemeClr val="bg1"/>
                </a:solidFill>
              </a:defRPr>
            </a:lvl1pPr>
            <a:lvl2pPr algn="ctr">
              <a:lnSpc>
                <a:spcPts val="1410"/>
              </a:lnSpc>
              <a:defRPr sz="1410">
                <a:solidFill>
                  <a:schemeClr val="bg1"/>
                </a:solidFill>
              </a:defRPr>
            </a:lvl2pPr>
          </a:lstStyle>
          <a:p>
            <a:pPr lvl="0"/>
            <a:r>
              <a:rPr lang="en-US" dirty="0"/>
              <a:t>0</a:t>
            </a:r>
          </a:p>
          <a:p>
            <a:pPr lvl="1"/>
            <a:r>
              <a:rPr lang="en-US" dirty="0"/>
              <a:t>Level 2</a:t>
            </a:r>
            <a:endParaRPr lang="en-GB" dirty="0"/>
          </a:p>
        </p:txBody>
      </p:sp>
      <p:sp>
        <p:nvSpPr>
          <p:cNvPr id="8" name="Text Placeholder 6">
            <a:extLst>
              <a:ext uri="{FF2B5EF4-FFF2-40B4-BE49-F238E27FC236}">
                <a16:creationId xmlns:a16="http://schemas.microsoft.com/office/drawing/2014/main" id="{A5CDB310-1C7B-49D2-A591-201A8C5DAC10}"/>
              </a:ext>
            </a:extLst>
          </p:cNvPr>
          <p:cNvSpPr>
            <a:spLocks noGrp="1" noChangeAspect="1"/>
          </p:cNvSpPr>
          <p:nvPr>
            <p:ph type="body" sz="quarter" idx="14" hasCustomPrompt="1"/>
          </p:nvPr>
        </p:nvSpPr>
        <p:spPr>
          <a:xfrm>
            <a:off x="2796300" y="1800000"/>
            <a:ext cx="1944000" cy="1944000"/>
          </a:xfrm>
          <a:prstGeom prst="ellipse">
            <a:avLst/>
          </a:prstGeom>
          <a:solidFill>
            <a:schemeClr val="accent4"/>
          </a:solidFill>
        </p:spPr>
        <p:txBody>
          <a:bodyPr bIns="72000" anchor="ctr" anchorCtr="0"/>
          <a:lstStyle>
            <a:lvl1pPr algn="ctr">
              <a:lnSpc>
                <a:spcPts val="6000"/>
              </a:lnSpc>
              <a:spcAft>
                <a:spcPts val="1200"/>
              </a:spcAft>
              <a:defRPr sz="6000">
                <a:solidFill>
                  <a:schemeClr val="bg1"/>
                </a:solidFill>
              </a:defRPr>
            </a:lvl1pPr>
            <a:lvl2pPr algn="ctr">
              <a:lnSpc>
                <a:spcPts val="1410"/>
              </a:lnSpc>
              <a:defRPr sz="1410">
                <a:solidFill>
                  <a:schemeClr val="bg1"/>
                </a:solidFill>
              </a:defRPr>
            </a:lvl2pPr>
          </a:lstStyle>
          <a:p>
            <a:pPr lvl="0"/>
            <a:r>
              <a:rPr lang="en-US" dirty="0"/>
              <a:t>0</a:t>
            </a:r>
          </a:p>
          <a:p>
            <a:pPr lvl="1"/>
            <a:r>
              <a:rPr lang="en-US" dirty="0"/>
              <a:t>Level 2</a:t>
            </a:r>
            <a:endParaRPr lang="en-GB" dirty="0"/>
          </a:p>
        </p:txBody>
      </p:sp>
      <p:sp>
        <p:nvSpPr>
          <p:cNvPr id="9" name="Text Placeholder 6">
            <a:extLst>
              <a:ext uri="{FF2B5EF4-FFF2-40B4-BE49-F238E27FC236}">
                <a16:creationId xmlns:a16="http://schemas.microsoft.com/office/drawing/2014/main" id="{9EA1E10F-8C41-4F78-A800-FA323D20EB75}"/>
              </a:ext>
            </a:extLst>
          </p:cNvPr>
          <p:cNvSpPr>
            <a:spLocks noGrp="1" noChangeAspect="1"/>
          </p:cNvSpPr>
          <p:nvPr>
            <p:ph type="body" sz="quarter" idx="15" hasCustomPrompt="1"/>
          </p:nvPr>
        </p:nvSpPr>
        <p:spPr>
          <a:xfrm>
            <a:off x="5124600" y="1800000"/>
            <a:ext cx="1944000" cy="1944000"/>
          </a:xfrm>
          <a:prstGeom prst="ellipse">
            <a:avLst/>
          </a:prstGeom>
          <a:solidFill>
            <a:schemeClr val="accent5"/>
          </a:solidFill>
        </p:spPr>
        <p:txBody>
          <a:bodyPr bIns="72000" anchor="ctr" anchorCtr="0"/>
          <a:lstStyle>
            <a:lvl1pPr algn="ctr">
              <a:lnSpc>
                <a:spcPts val="6000"/>
              </a:lnSpc>
              <a:spcAft>
                <a:spcPts val="1200"/>
              </a:spcAft>
              <a:defRPr sz="6000">
                <a:solidFill>
                  <a:schemeClr val="bg1"/>
                </a:solidFill>
              </a:defRPr>
            </a:lvl1pPr>
            <a:lvl2pPr algn="ctr">
              <a:lnSpc>
                <a:spcPts val="1410"/>
              </a:lnSpc>
              <a:defRPr sz="1410">
                <a:solidFill>
                  <a:schemeClr val="bg1"/>
                </a:solidFill>
              </a:defRPr>
            </a:lvl2pPr>
          </a:lstStyle>
          <a:p>
            <a:pPr lvl="0"/>
            <a:r>
              <a:rPr lang="en-US" dirty="0"/>
              <a:t>0</a:t>
            </a:r>
          </a:p>
          <a:p>
            <a:pPr lvl="1"/>
            <a:r>
              <a:rPr lang="en-US" dirty="0"/>
              <a:t>Level 2</a:t>
            </a:r>
            <a:endParaRPr lang="en-GB" dirty="0"/>
          </a:p>
        </p:txBody>
      </p:sp>
      <p:sp>
        <p:nvSpPr>
          <p:cNvPr id="10" name="Text Placeholder 6">
            <a:extLst>
              <a:ext uri="{FF2B5EF4-FFF2-40B4-BE49-F238E27FC236}">
                <a16:creationId xmlns:a16="http://schemas.microsoft.com/office/drawing/2014/main" id="{93B985E0-59D5-477E-A3D4-71BD2C33554A}"/>
              </a:ext>
            </a:extLst>
          </p:cNvPr>
          <p:cNvSpPr>
            <a:spLocks noGrp="1" noChangeAspect="1"/>
          </p:cNvSpPr>
          <p:nvPr>
            <p:ph type="body" sz="quarter" idx="16" hasCustomPrompt="1"/>
          </p:nvPr>
        </p:nvSpPr>
        <p:spPr>
          <a:xfrm>
            <a:off x="7452900" y="1800000"/>
            <a:ext cx="1944000" cy="1944000"/>
          </a:xfrm>
          <a:prstGeom prst="ellipse">
            <a:avLst/>
          </a:prstGeom>
          <a:solidFill>
            <a:schemeClr val="accent3"/>
          </a:solidFill>
        </p:spPr>
        <p:txBody>
          <a:bodyPr bIns="72000" anchor="ctr" anchorCtr="0"/>
          <a:lstStyle>
            <a:lvl1pPr algn="ctr">
              <a:lnSpc>
                <a:spcPts val="6000"/>
              </a:lnSpc>
              <a:spcAft>
                <a:spcPts val="1200"/>
              </a:spcAft>
              <a:defRPr sz="6000">
                <a:solidFill>
                  <a:schemeClr val="bg1"/>
                </a:solidFill>
              </a:defRPr>
            </a:lvl1pPr>
            <a:lvl2pPr algn="ctr">
              <a:lnSpc>
                <a:spcPts val="1410"/>
              </a:lnSpc>
              <a:defRPr sz="1410">
                <a:solidFill>
                  <a:schemeClr val="bg1"/>
                </a:solidFill>
              </a:defRPr>
            </a:lvl2pPr>
          </a:lstStyle>
          <a:p>
            <a:pPr lvl="0"/>
            <a:r>
              <a:rPr lang="en-US" dirty="0"/>
              <a:t>0</a:t>
            </a:r>
          </a:p>
          <a:p>
            <a:pPr lvl="1"/>
            <a:r>
              <a:rPr lang="en-US" dirty="0"/>
              <a:t>Level 2</a:t>
            </a:r>
            <a:endParaRPr lang="en-GB" dirty="0"/>
          </a:p>
        </p:txBody>
      </p:sp>
      <p:sp>
        <p:nvSpPr>
          <p:cNvPr id="11" name="Text Placeholder 6">
            <a:extLst>
              <a:ext uri="{FF2B5EF4-FFF2-40B4-BE49-F238E27FC236}">
                <a16:creationId xmlns:a16="http://schemas.microsoft.com/office/drawing/2014/main" id="{13FF9E45-0FEC-4082-894A-E0B17AE72BC5}"/>
              </a:ext>
            </a:extLst>
          </p:cNvPr>
          <p:cNvSpPr>
            <a:spLocks noGrp="1" noChangeAspect="1"/>
          </p:cNvSpPr>
          <p:nvPr>
            <p:ph type="body" sz="quarter" idx="17" hasCustomPrompt="1"/>
          </p:nvPr>
        </p:nvSpPr>
        <p:spPr>
          <a:xfrm>
            <a:off x="9781200" y="1800000"/>
            <a:ext cx="1944000" cy="1944000"/>
          </a:xfrm>
          <a:prstGeom prst="ellipse">
            <a:avLst/>
          </a:prstGeom>
          <a:solidFill>
            <a:schemeClr val="accent6"/>
          </a:solidFill>
        </p:spPr>
        <p:txBody>
          <a:bodyPr bIns="72000" anchor="ctr" anchorCtr="0"/>
          <a:lstStyle>
            <a:lvl1pPr algn="ctr">
              <a:lnSpc>
                <a:spcPts val="6000"/>
              </a:lnSpc>
              <a:spcAft>
                <a:spcPts val="1200"/>
              </a:spcAft>
              <a:defRPr sz="6000">
                <a:solidFill>
                  <a:schemeClr val="bg1"/>
                </a:solidFill>
              </a:defRPr>
            </a:lvl1pPr>
            <a:lvl2pPr algn="ctr">
              <a:lnSpc>
                <a:spcPts val="1410"/>
              </a:lnSpc>
              <a:defRPr sz="1410">
                <a:solidFill>
                  <a:schemeClr val="bg1"/>
                </a:solidFill>
              </a:defRPr>
            </a:lvl2pPr>
          </a:lstStyle>
          <a:p>
            <a:pPr lvl="0"/>
            <a:r>
              <a:rPr lang="en-US" dirty="0"/>
              <a:t>0</a:t>
            </a:r>
          </a:p>
          <a:p>
            <a:pPr lvl="1"/>
            <a:r>
              <a:rPr lang="en-US" dirty="0"/>
              <a:t>Level 2</a:t>
            </a:r>
            <a:endParaRPr lang="en-GB" dirty="0"/>
          </a:p>
        </p:txBody>
      </p:sp>
      <p:sp>
        <p:nvSpPr>
          <p:cNvPr id="18" name="Text Placeholder 21">
            <a:extLst>
              <a:ext uri="{FF2B5EF4-FFF2-40B4-BE49-F238E27FC236}">
                <a16:creationId xmlns:a16="http://schemas.microsoft.com/office/drawing/2014/main" id="{56EFED39-4675-4D68-B9FB-26A294928B93}"/>
              </a:ext>
            </a:extLst>
          </p:cNvPr>
          <p:cNvSpPr>
            <a:spLocks noGrp="1"/>
          </p:cNvSpPr>
          <p:nvPr>
            <p:ph type="body" sz="quarter" idx="22"/>
          </p:nvPr>
        </p:nvSpPr>
        <p:spPr>
          <a:xfrm>
            <a:off x="468000" y="4103999"/>
            <a:ext cx="1944000" cy="2071376"/>
          </a:xfrm>
        </p:spPr>
        <p:txBody>
          <a:bodyPr/>
          <a:lstStyle>
            <a:lvl1pPr algn="ctr">
              <a:lnSpc>
                <a:spcPts val="1230"/>
              </a:lnSpc>
              <a:defRPr sz="1060">
                <a:solidFill>
                  <a:schemeClr val="tx2"/>
                </a:solidFill>
              </a:defRPr>
            </a:lvl1pPr>
            <a:lvl2pPr marL="108000" indent="-108000" algn="ctr">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
        <p:nvSpPr>
          <p:cNvPr id="19" name="Text Placeholder 21">
            <a:extLst>
              <a:ext uri="{FF2B5EF4-FFF2-40B4-BE49-F238E27FC236}">
                <a16:creationId xmlns:a16="http://schemas.microsoft.com/office/drawing/2014/main" id="{5D18E4D3-EB66-4890-87B4-6F6873D652E0}"/>
              </a:ext>
            </a:extLst>
          </p:cNvPr>
          <p:cNvSpPr>
            <a:spLocks noGrp="1"/>
          </p:cNvSpPr>
          <p:nvPr>
            <p:ph type="body" sz="quarter" idx="23"/>
          </p:nvPr>
        </p:nvSpPr>
        <p:spPr>
          <a:xfrm>
            <a:off x="2796300" y="4103999"/>
            <a:ext cx="1944000" cy="2071376"/>
          </a:xfrm>
        </p:spPr>
        <p:txBody>
          <a:bodyPr/>
          <a:lstStyle>
            <a:lvl1pPr algn="ctr">
              <a:lnSpc>
                <a:spcPts val="1230"/>
              </a:lnSpc>
              <a:defRPr sz="1060">
                <a:solidFill>
                  <a:schemeClr val="tx2"/>
                </a:solidFill>
              </a:defRPr>
            </a:lvl1pPr>
            <a:lvl2pPr marL="108000" indent="-108000" algn="ctr">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
        <p:nvSpPr>
          <p:cNvPr id="21" name="Text Placeholder 21">
            <a:extLst>
              <a:ext uri="{FF2B5EF4-FFF2-40B4-BE49-F238E27FC236}">
                <a16:creationId xmlns:a16="http://schemas.microsoft.com/office/drawing/2014/main" id="{12516868-3302-4C14-9A1B-F5A67AB96E43}"/>
              </a:ext>
            </a:extLst>
          </p:cNvPr>
          <p:cNvSpPr>
            <a:spLocks noGrp="1"/>
          </p:cNvSpPr>
          <p:nvPr>
            <p:ph type="body" sz="quarter" idx="25"/>
          </p:nvPr>
        </p:nvSpPr>
        <p:spPr>
          <a:xfrm>
            <a:off x="5124000" y="4103999"/>
            <a:ext cx="1944000" cy="2071376"/>
          </a:xfrm>
        </p:spPr>
        <p:txBody>
          <a:bodyPr/>
          <a:lstStyle>
            <a:lvl1pPr algn="ctr">
              <a:lnSpc>
                <a:spcPts val="1230"/>
              </a:lnSpc>
              <a:defRPr sz="1060">
                <a:solidFill>
                  <a:schemeClr val="tx2"/>
                </a:solidFill>
              </a:defRPr>
            </a:lvl1pPr>
            <a:lvl2pPr marL="108000" indent="-108000" algn="ctr">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
        <p:nvSpPr>
          <p:cNvPr id="22" name="Text Placeholder 21">
            <a:extLst>
              <a:ext uri="{FF2B5EF4-FFF2-40B4-BE49-F238E27FC236}">
                <a16:creationId xmlns:a16="http://schemas.microsoft.com/office/drawing/2014/main" id="{F0210EC0-BE02-4059-8F9D-D336BFB873A8}"/>
              </a:ext>
            </a:extLst>
          </p:cNvPr>
          <p:cNvSpPr>
            <a:spLocks noGrp="1"/>
          </p:cNvSpPr>
          <p:nvPr>
            <p:ph type="body" sz="quarter" idx="26"/>
          </p:nvPr>
        </p:nvSpPr>
        <p:spPr>
          <a:xfrm>
            <a:off x="7452900" y="4104000"/>
            <a:ext cx="1944000" cy="2071376"/>
          </a:xfrm>
        </p:spPr>
        <p:txBody>
          <a:bodyPr/>
          <a:lstStyle>
            <a:lvl1pPr algn="ctr">
              <a:lnSpc>
                <a:spcPts val="1230"/>
              </a:lnSpc>
              <a:defRPr sz="1060">
                <a:solidFill>
                  <a:schemeClr val="tx2"/>
                </a:solidFill>
              </a:defRPr>
            </a:lvl1pPr>
            <a:lvl2pPr marL="108000" indent="-108000" algn="ctr">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
        <p:nvSpPr>
          <p:cNvPr id="23" name="Text Placeholder 21">
            <a:extLst>
              <a:ext uri="{FF2B5EF4-FFF2-40B4-BE49-F238E27FC236}">
                <a16:creationId xmlns:a16="http://schemas.microsoft.com/office/drawing/2014/main" id="{F6571880-7AF6-4A9C-9E91-1B90F93DA668}"/>
              </a:ext>
            </a:extLst>
          </p:cNvPr>
          <p:cNvSpPr>
            <a:spLocks noGrp="1"/>
          </p:cNvSpPr>
          <p:nvPr>
            <p:ph type="body" sz="quarter" idx="27"/>
          </p:nvPr>
        </p:nvSpPr>
        <p:spPr>
          <a:xfrm>
            <a:off x="9781200" y="4104000"/>
            <a:ext cx="1944000" cy="2071376"/>
          </a:xfrm>
        </p:spPr>
        <p:txBody>
          <a:bodyPr/>
          <a:lstStyle>
            <a:lvl1pPr algn="ctr">
              <a:lnSpc>
                <a:spcPts val="1230"/>
              </a:lnSpc>
              <a:defRPr sz="1060">
                <a:solidFill>
                  <a:schemeClr val="tx2"/>
                </a:solidFill>
              </a:defRPr>
            </a:lvl1pPr>
            <a:lvl2pPr marL="108000" indent="-108000" algn="ctr">
              <a:lnSpc>
                <a:spcPts val="1230"/>
              </a:lnSpc>
              <a:buClr>
                <a:schemeClr val="accent6"/>
              </a:buClr>
              <a:buFont typeface="Arial" panose="020B0604020202020204" pitchFamily="34" charset="0"/>
              <a:buChar char="•"/>
              <a:defRPr sz="1060"/>
            </a:lvl2pPr>
          </a:lstStyle>
          <a:p>
            <a:pPr lvl="0"/>
            <a:r>
              <a:rPr lang="en-US" dirty="0"/>
              <a:t>Click to edit Master text styles</a:t>
            </a:r>
          </a:p>
          <a:p>
            <a:pPr lvl="1"/>
            <a:r>
              <a:rPr lang="en-US" dirty="0"/>
              <a:t>Second level</a:t>
            </a:r>
            <a:endParaRPr lang="en-GB" dirty="0"/>
          </a:p>
        </p:txBody>
      </p:sp>
    </p:spTree>
    <p:extLst>
      <p:ext uri="{BB962C8B-B14F-4D97-AF65-F5344CB8AC3E}">
        <p14:creationId xmlns:p14="http://schemas.microsoft.com/office/powerpoint/2010/main" val="363363747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title" preserve="1">
  <p:cSld name="Thank You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875600" y="2286000"/>
            <a:ext cx="7970400" cy="1037896"/>
          </a:xfrm>
        </p:spPr>
        <p:txBody>
          <a:bodyPr/>
          <a:lstStyle>
            <a:lvl1pPr algn="l">
              <a:lnSpc>
                <a:spcPts val="6630"/>
              </a:lnSpc>
              <a:defRPr sz="6630"/>
            </a:lvl1pPr>
          </a:lstStyle>
          <a:p>
            <a:r>
              <a:rPr lang="en-US" noProof="0" dirty="0"/>
              <a:t>Thank you</a:t>
            </a:r>
            <a:endParaRPr lang="en-GB" noProof="0" dirty="0"/>
          </a:p>
        </p:txBody>
      </p:sp>
      <p:sp>
        <p:nvSpPr>
          <p:cNvPr id="3" name="Subtitle 2"/>
          <p:cNvSpPr>
            <a:spLocks noGrp="1"/>
          </p:cNvSpPr>
          <p:nvPr>
            <p:ph type="subTitle" idx="1"/>
          </p:nvPr>
        </p:nvSpPr>
        <p:spPr>
          <a:xfrm>
            <a:off x="1886400" y="3323896"/>
            <a:ext cx="7970400" cy="1090761"/>
          </a:xfrm>
        </p:spPr>
        <p:txBody>
          <a:bodyPr/>
          <a:lstStyle>
            <a:lvl1pPr marL="0" indent="0" algn="l">
              <a:lnSpc>
                <a:spcPts val="1590"/>
              </a:lnSpc>
              <a:spcAft>
                <a:spcPts val="0"/>
              </a:spcAft>
              <a:buNone/>
              <a:defRPr sz="141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pic>
        <p:nvPicPr>
          <p:cNvPr id="8" name="Picture 7">
            <a:extLst>
              <a:ext uri="{FF2B5EF4-FFF2-40B4-BE49-F238E27FC236}">
                <a16:creationId xmlns:a16="http://schemas.microsoft.com/office/drawing/2014/main" id="{DEDB3570-FCFE-4D37-81AF-ECB153EFD8D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71600" y="457200"/>
            <a:ext cx="1404000" cy="552898"/>
          </a:xfrm>
          <a:prstGeom prst="rect">
            <a:avLst/>
          </a:prstGeom>
        </p:spPr>
      </p:pic>
      <p:sp>
        <p:nvSpPr>
          <p:cNvPr id="4" name="TextBox 3">
            <a:extLst>
              <a:ext uri="{FF2B5EF4-FFF2-40B4-BE49-F238E27FC236}">
                <a16:creationId xmlns:a16="http://schemas.microsoft.com/office/drawing/2014/main" id="{0632D508-3EF1-9A47-B376-A3D28FC8C640}"/>
              </a:ext>
            </a:extLst>
          </p:cNvPr>
          <p:cNvSpPr txBox="1"/>
          <p:nvPr userDrawn="1"/>
        </p:nvSpPr>
        <p:spPr>
          <a:xfrm>
            <a:off x="5200650" y="5829300"/>
            <a:ext cx="0" cy="0"/>
          </a:xfrm>
          <a:prstGeom prst="rect">
            <a:avLst/>
          </a:prstGeom>
          <a:noFill/>
        </p:spPr>
        <p:txBody>
          <a:bodyPr wrap="none" lIns="0" tIns="0" rIns="0" bIns="0" rtlCol="0">
            <a:noAutofit/>
          </a:bodyPr>
          <a:lstStyle/>
          <a:p>
            <a:pPr algn="l">
              <a:lnSpc>
                <a:spcPts val="2290"/>
              </a:lnSpc>
            </a:pPr>
            <a:endParaRPr sz="1940" dirty="0">
              <a:solidFill>
                <a:schemeClr val="tx2"/>
              </a:solidFill>
            </a:endParaRPr>
          </a:p>
        </p:txBody>
      </p:sp>
      <p:grpSp>
        <p:nvGrpSpPr>
          <p:cNvPr id="18" name="Group 17">
            <a:extLst>
              <a:ext uri="{FF2B5EF4-FFF2-40B4-BE49-F238E27FC236}">
                <a16:creationId xmlns:a16="http://schemas.microsoft.com/office/drawing/2014/main" id="{50DF25AC-AA14-C740-85A0-78503346E043}"/>
              </a:ext>
            </a:extLst>
          </p:cNvPr>
          <p:cNvGrpSpPr/>
          <p:nvPr userDrawn="1"/>
        </p:nvGrpSpPr>
        <p:grpSpPr>
          <a:xfrm>
            <a:off x="0" y="0"/>
            <a:ext cx="12227595" cy="6858001"/>
            <a:chOff x="1260475" y="3576638"/>
            <a:chExt cx="1030288" cy="577850"/>
          </a:xfrm>
        </p:grpSpPr>
        <p:sp>
          <p:nvSpPr>
            <p:cNvPr id="19" name="Freeform 55">
              <a:extLst>
                <a:ext uri="{FF2B5EF4-FFF2-40B4-BE49-F238E27FC236}">
                  <a16:creationId xmlns:a16="http://schemas.microsoft.com/office/drawing/2014/main" id="{F8362EB4-F4F1-7E4A-9408-7CF483ED31DC}"/>
                </a:ext>
              </a:extLst>
            </p:cNvPr>
            <p:cNvSpPr>
              <a:spLocks noChangeArrowheads="1"/>
            </p:cNvSpPr>
            <p:nvPr/>
          </p:nvSpPr>
          <p:spPr bwMode="auto">
            <a:xfrm>
              <a:off x="1994579" y="3723597"/>
              <a:ext cx="163512" cy="169862"/>
            </a:xfrm>
            <a:custGeom>
              <a:avLst/>
              <a:gdLst>
                <a:gd name="T0" fmla="*/ 355 w 456"/>
                <a:gd name="T1" fmla="*/ 409 h 470"/>
                <a:gd name="T2" fmla="*/ 455 w 456"/>
                <a:gd name="T3" fmla="*/ 279 h 470"/>
                <a:gd name="T4" fmla="*/ 324 w 456"/>
                <a:gd name="T5" fmla="*/ 178 h 470"/>
                <a:gd name="T6" fmla="*/ 303 w 456"/>
                <a:gd name="T7" fmla="*/ 14 h 470"/>
                <a:gd name="T8" fmla="*/ 139 w 456"/>
                <a:gd name="T9" fmla="*/ 36 h 470"/>
                <a:gd name="T10" fmla="*/ 60 w 456"/>
                <a:gd name="T11" fmla="*/ 331 h 470"/>
                <a:gd name="T12" fmla="*/ 355 w 456"/>
                <a:gd name="T13" fmla="*/ 409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55" y="409"/>
                  </a:moveTo>
                  <a:cubicBezTo>
                    <a:pt x="406" y="379"/>
                    <a:pt x="441" y="332"/>
                    <a:pt x="455" y="279"/>
                  </a:cubicBezTo>
                  <a:cubicBezTo>
                    <a:pt x="402" y="265"/>
                    <a:pt x="354" y="229"/>
                    <a:pt x="324" y="178"/>
                  </a:cubicBezTo>
                  <a:cubicBezTo>
                    <a:pt x="294" y="126"/>
                    <a:pt x="288" y="68"/>
                    <a:pt x="303" y="14"/>
                  </a:cubicBezTo>
                  <a:cubicBezTo>
                    <a:pt x="249" y="0"/>
                    <a:pt x="190" y="6"/>
                    <a:pt x="139" y="36"/>
                  </a:cubicBezTo>
                  <a:cubicBezTo>
                    <a:pt x="35" y="96"/>
                    <a:pt x="0" y="228"/>
                    <a:pt x="60" y="331"/>
                  </a:cubicBezTo>
                  <a:cubicBezTo>
                    <a:pt x="119" y="433"/>
                    <a:pt x="251" y="469"/>
                    <a:pt x="355" y="409"/>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0" name="Freeform 56">
              <a:extLst>
                <a:ext uri="{FF2B5EF4-FFF2-40B4-BE49-F238E27FC236}">
                  <a16:creationId xmlns:a16="http://schemas.microsoft.com/office/drawing/2014/main" id="{BAB02D1D-5DCE-CF4D-A925-0CCCE6632957}"/>
                </a:ext>
              </a:extLst>
            </p:cNvPr>
            <p:cNvSpPr>
              <a:spLocks noChangeArrowheads="1"/>
            </p:cNvSpPr>
            <p:nvPr/>
          </p:nvSpPr>
          <p:spPr bwMode="auto">
            <a:xfrm>
              <a:off x="2119313" y="3741738"/>
              <a:ext cx="38100" cy="61912"/>
            </a:xfrm>
            <a:custGeom>
              <a:avLst/>
              <a:gdLst>
                <a:gd name="T0" fmla="*/ 7 w 107"/>
                <a:gd name="T1" fmla="*/ 0 h 173"/>
                <a:gd name="T2" fmla="*/ 25 w 107"/>
                <a:gd name="T3" fmla="*/ 105 h 173"/>
                <a:gd name="T4" fmla="*/ 106 w 107"/>
                <a:gd name="T5" fmla="*/ 172 h 173"/>
                <a:gd name="T6" fmla="*/ 78 w 107"/>
                <a:gd name="T7" fmla="*/ 74 h 173"/>
                <a:gd name="T8" fmla="*/ 7 w 107"/>
                <a:gd name="T9" fmla="*/ 0 h 173"/>
              </a:gdLst>
              <a:ahLst/>
              <a:cxnLst>
                <a:cxn ang="0">
                  <a:pos x="T0" y="T1"/>
                </a:cxn>
                <a:cxn ang="0">
                  <a:pos x="T2" y="T3"/>
                </a:cxn>
                <a:cxn ang="0">
                  <a:pos x="T4" y="T5"/>
                </a:cxn>
                <a:cxn ang="0">
                  <a:pos x="T6" y="T7"/>
                </a:cxn>
                <a:cxn ang="0">
                  <a:pos x="T8" y="T9"/>
                </a:cxn>
              </a:cxnLst>
              <a:rect l="0" t="0" r="r" b="b"/>
              <a:pathLst>
                <a:path w="107" h="173">
                  <a:moveTo>
                    <a:pt x="7" y="0"/>
                  </a:moveTo>
                  <a:cubicBezTo>
                    <a:pt x="0" y="36"/>
                    <a:pt x="6" y="73"/>
                    <a:pt x="25" y="105"/>
                  </a:cubicBezTo>
                  <a:cubicBezTo>
                    <a:pt x="43" y="136"/>
                    <a:pt x="72" y="160"/>
                    <a:pt x="106" y="172"/>
                  </a:cubicBezTo>
                  <a:cubicBezTo>
                    <a:pt x="105" y="138"/>
                    <a:pt x="95" y="105"/>
                    <a:pt x="78" y="74"/>
                  </a:cubicBezTo>
                  <a:cubicBezTo>
                    <a:pt x="60" y="43"/>
                    <a:pt x="36" y="18"/>
                    <a:pt x="7" y="0"/>
                  </a:cubicBezTo>
                </a:path>
              </a:pathLst>
            </a:custGeom>
            <a:solidFill>
              <a:schemeClr val="accent5">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1" name="Freeform 57">
              <a:extLst>
                <a:ext uri="{FF2B5EF4-FFF2-40B4-BE49-F238E27FC236}">
                  <a16:creationId xmlns:a16="http://schemas.microsoft.com/office/drawing/2014/main" id="{7B6CCA06-C5CD-2746-8BBD-306C87C5055D}"/>
                </a:ext>
              </a:extLst>
            </p:cNvPr>
            <p:cNvSpPr>
              <a:spLocks noChangeArrowheads="1"/>
            </p:cNvSpPr>
            <p:nvPr/>
          </p:nvSpPr>
          <p:spPr bwMode="auto">
            <a:xfrm>
              <a:off x="2100263" y="3673475"/>
              <a:ext cx="163512" cy="155575"/>
            </a:xfrm>
            <a:custGeom>
              <a:avLst/>
              <a:gdLst>
                <a:gd name="T0" fmla="*/ 63 w 456"/>
                <a:gd name="T1" fmla="*/ 177 h 433"/>
                <a:gd name="T2" fmla="*/ 133 w 456"/>
                <a:gd name="T3" fmla="*/ 86 h 433"/>
                <a:gd name="T4" fmla="*/ 208 w 456"/>
                <a:gd name="T5" fmla="*/ 66 h 433"/>
                <a:gd name="T6" fmla="*/ 208 w 456"/>
                <a:gd name="T7" fmla="*/ 66 h 433"/>
                <a:gd name="T8" fmla="*/ 339 w 456"/>
                <a:gd name="T9" fmla="*/ 141 h 433"/>
                <a:gd name="T10" fmla="*/ 283 w 456"/>
                <a:gd name="T11" fmla="*/ 347 h 433"/>
                <a:gd name="T12" fmla="*/ 208 w 456"/>
                <a:gd name="T13" fmla="*/ 367 h 433"/>
                <a:gd name="T14" fmla="*/ 159 w 456"/>
                <a:gd name="T15" fmla="*/ 359 h 433"/>
                <a:gd name="T16" fmla="*/ 152 w 456"/>
                <a:gd name="T17" fmla="*/ 425 h 433"/>
                <a:gd name="T18" fmla="*/ 208 w 456"/>
                <a:gd name="T19" fmla="*/ 432 h 433"/>
                <a:gd name="T20" fmla="*/ 316 w 456"/>
                <a:gd name="T21" fmla="*/ 403 h 433"/>
                <a:gd name="T22" fmla="*/ 395 w 456"/>
                <a:gd name="T23" fmla="*/ 108 h 433"/>
                <a:gd name="T24" fmla="*/ 208 w 456"/>
                <a:gd name="T25" fmla="*/ 0 h 433"/>
                <a:gd name="T26" fmla="*/ 100 w 456"/>
                <a:gd name="T27" fmla="*/ 29 h 433"/>
                <a:gd name="T28" fmla="*/ 0 w 456"/>
                <a:gd name="T29" fmla="*/ 160 h 433"/>
                <a:gd name="T30" fmla="*/ 60 w 456"/>
                <a:gd name="T31" fmla="*/ 187 h 433"/>
                <a:gd name="T32" fmla="*/ 63 w 456"/>
                <a:gd name="T33" fmla="*/ 177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6" h="433">
                  <a:moveTo>
                    <a:pt x="63" y="177"/>
                  </a:moveTo>
                  <a:cubicBezTo>
                    <a:pt x="73" y="139"/>
                    <a:pt x="98" y="106"/>
                    <a:pt x="133" y="86"/>
                  </a:cubicBezTo>
                  <a:cubicBezTo>
                    <a:pt x="156" y="73"/>
                    <a:pt x="182" y="66"/>
                    <a:pt x="208" y="66"/>
                  </a:cubicBezTo>
                  <a:lnTo>
                    <a:pt x="208" y="66"/>
                  </a:lnTo>
                  <a:cubicBezTo>
                    <a:pt x="262" y="66"/>
                    <a:pt x="312" y="95"/>
                    <a:pt x="339" y="141"/>
                  </a:cubicBezTo>
                  <a:cubicBezTo>
                    <a:pt x="380" y="213"/>
                    <a:pt x="355" y="305"/>
                    <a:pt x="283" y="347"/>
                  </a:cubicBezTo>
                  <a:cubicBezTo>
                    <a:pt x="260" y="360"/>
                    <a:pt x="235" y="367"/>
                    <a:pt x="208" y="367"/>
                  </a:cubicBezTo>
                  <a:cubicBezTo>
                    <a:pt x="191" y="367"/>
                    <a:pt x="175" y="364"/>
                    <a:pt x="159" y="359"/>
                  </a:cubicBezTo>
                  <a:cubicBezTo>
                    <a:pt x="160" y="381"/>
                    <a:pt x="158" y="403"/>
                    <a:pt x="152" y="425"/>
                  </a:cubicBezTo>
                  <a:cubicBezTo>
                    <a:pt x="170" y="430"/>
                    <a:pt x="189" y="432"/>
                    <a:pt x="208" y="432"/>
                  </a:cubicBezTo>
                  <a:cubicBezTo>
                    <a:pt x="245" y="432"/>
                    <a:pt x="282" y="423"/>
                    <a:pt x="316" y="403"/>
                  </a:cubicBezTo>
                  <a:cubicBezTo>
                    <a:pt x="419" y="344"/>
                    <a:pt x="455" y="212"/>
                    <a:pt x="395" y="108"/>
                  </a:cubicBezTo>
                  <a:cubicBezTo>
                    <a:pt x="355" y="39"/>
                    <a:pt x="283" y="0"/>
                    <a:pt x="208" y="0"/>
                  </a:cubicBezTo>
                  <a:cubicBezTo>
                    <a:pt x="171" y="0"/>
                    <a:pt x="134" y="10"/>
                    <a:pt x="100" y="29"/>
                  </a:cubicBezTo>
                  <a:cubicBezTo>
                    <a:pt x="49" y="59"/>
                    <a:pt x="14" y="107"/>
                    <a:pt x="0" y="160"/>
                  </a:cubicBezTo>
                  <a:cubicBezTo>
                    <a:pt x="21" y="166"/>
                    <a:pt x="42" y="175"/>
                    <a:pt x="60" y="187"/>
                  </a:cubicBezTo>
                  <a:cubicBezTo>
                    <a:pt x="61" y="184"/>
                    <a:pt x="62" y="181"/>
                    <a:pt x="63" y="177"/>
                  </a:cubicBezTo>
                </a:path>
              </a:pathLst>
            </a:custGeom>
            <a:solidFill>
              <a:schemeClr val="accent5">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2" name="Freeform 58">
              <a:extLst>
                <a:ext uri="{FF2B5EF4-FFF2-40B4-BE49-F238E27FC236}">
                  <a16:creationId xmlns:a16="http://schemas.microsoft.com/office/drawing/2014/main" id="{13A36AFC-F6D8-A347-9FAF-30163EA6510E}"/>
                </a:ext>
              </a:extLst>
            </p:cNvPr>
            <p:cNvSpPr>
              <a:spLocks noChangeArrowheads="1"/>
            </p:cNvSpPr>
            <p:nvPr/>
          </p:nvSpPr>
          <p:spPr bwMode="auto">
            <a:xfrm>
              <a:off x="2095500" y="3730625"/>
              <a:ext cx="63500" cy="95250"/>
            </a:xfrm>
            <a:custGeom>
              <a:avLst/>
              <a:gdLst>
                <a:gd name="T0" fmla="*/ 36 w 176"/>
                <a:gd name="T1" fmla="*/ 164 h 266"/>
                <a:gd name="T2" fmla="*/ 167 w 176"/>
                <a:gd name="T3" fmla="*/ 265 h 266"/>
                <a:gd name="T4" fmla="*/ 174 w 176"/>
                <a:gd name="T5" fmla="*/ 199 h 266"/>
                <a:gd name="T6" fmla="*/ 93 w 176"/>
                <a:gd name="T7" fmla="*/ 132 h 266"/>
                <a:gd name="T8" fmla="*/ 75 w 176"/>
                <a:gd name="T9" fmla="*/ 27 h 266"/>
                <a:gd name="T10" fmla="*/ 15 w 176"/>
                <a:gd name="T11" fmla="*/ 0 h 266"/>
                <a:gd name="T12" fmla="*/ 36 w 176"/>
                <a:gd name="T13" fmla="*/ 164 h 266"/>
              </a:gdLst>
              <a:ahLst/>
              <a:cxnLst>
                <a:cxn ang="0">
                  <a:pos x="T0" y="T1"/>
                </a:cxn>
                <a:cxn ang="0">
                  <a:pos x="T2" y="T3"/>
                </a:cxn>
                <a:cxn ang="0">
                  <a:pos x="T4" y="T5"/>
                </a:cxn>
                <a:cxn ang="0">
                  <a:pos x="T6" y="T7"/>
                </a:cxn>
                <a:cxn ang="0">
                  <a:pos x="T8" y="T9"/>
                </a:cxn>
                <a:cxn ang="0">
                  <a:pos x="T10" y="T11"/>
                </a:cxn>
                <a:cxn ang="0">
                  <a:pos x="T12" y="T13"/>
                </a:cxn>
              </a:cxnLst>
              <a:rect l="0" t="0" r="r" b="b"/>
              <a:pathLst>
                <a:path w="176" h="266">
                  <a:moveTo>
                    <a:pt x="36" y="164"/>
                  </a:moveTo>
                  <a:cubicBezTo>
                    <a:pt x="66" y="216"/>
                    <a:pt x="114" y="251"/>
                    <a:pt x="167" y="265"/>
                  </a:cubicBezTo>
                  <a:cubicBezTo>
                    <a:pt x="173" y="243"/>
                    <a:pt x="175" y="221"/>
                    <a:pt x="174" y="199"/>
                  </a:cubicBezTo>
                  <a:cubicBezTo>
                    <a:pt x="140" y="187"/>
                    <a:pt x="111" y="163"/>
                    <a:pt x="93" y="132"/>
                  </a:cubicBezTo>
                  <a:cubicBezTo>
                    <a:pt x="74" y="100"/>
                    <a:pt x="68" y="63"/>
                    <a:pt x="75" y="27"/>
                  </a:cubicBezTo>
                  <a:cubicBezTo>
                    <a:pt x="57" y="15"/>
                    <a:pt x="36" y="6"/>
                    <a:pt x="15" y="0"/>
                  </a:cubicBezTo>
                  <a:cubicBezTo>
                    <a:pt x="0" y="54"/>
                    <a:pt x="6" y="113"/>
                    <a:pt x="36" y="164"/>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3" name="Freeform 60">
              <a:extLst>
                <a:ext uri="{FF2B5EF4-FFF2-40B4-BE49-F238E27FC236}">
                  <a16:creationId xmlns:a16="http://schemas.microsoft.com/office/drawing/2014/main" id="{4105A4B4-5E8F-E947-AD25-FAA110BA7D30}"/>
                </a:ext>
              </a:extLst>
            </p:cNvPr>
            <p:cNvSpPr>
              <a:spLocks noChangeArrowheads="1"/>
            </p:cNvSpPr>
            <p:nvPr/>
          </p:nvSpPr>
          <p:spPr bwMode="auto">
            <a:xfrm>
              <a:off x="1322388" y="3937000"/>
              <a:ext cx="466725" cy="217488"/>
            </a:xfrm>
            <a:custGeom>
              <a:avLst/>
              <a:gdLst>
                <a:gd name="T0" fmla="*/ 1237 w 1297"/>
                <a:gd name="T1" fmla="*/ 139 h 605"/>
                <a:gd name="T2" fmla="*/ 942 w 1297"/>
                <a:gd name="T3" fmla="*/ 60 h 605"/>
                <a:gd name="T4" fmla="*/ 0 w 1297"/>
                <a:gd name="T5" fmla="*/ 604 h 605"/>
                <a:gd name="T6" fmla="*/ 864 w 1297"/>
                <a:gd name="T7" fmla="*/ 604 h 605"/>
                <a:gd name="T8" fmla="*/ 1158 w 1297"/>
                <a:gd name="T9" fmla="*/ 434 h 605"/>
                <a:gd name="T10" fmla="*/ 1237 w 1297"/>
                <a:gd name="T11" fmla="*/ 139 h 605"/>
              </a:gdLst>
              <a:ahLst/>
              <a:cxnLst>
                <a:cxn ang="0">
                  <a:pos x="T0" y="T1"/>
                </a:cxn>
                <a:cxn ang="0">
                  <a:pos x="T2" y="T3"/>
                </a:cxn>
                <a:cxn ang="0">
                  <a:pos x="T4" y="T5"/>
                </a:cxn>
                <a:cxn ang="0">
                  <a:pos x="T6" y="T7"/>
                </a:cxn>
                <a:cxn ang="0">
                  <a:pos x="T8" y="T9"/>
                </a:cxn>
                <a:cxn ang="0">
                  <a:pos x="T10" y="T11"/>
                </a:cxn>
              </a:cxnLst>
              <a:rect l="0" t="0" r="r" b="b"/>
              <a:pathLst>
                <a:path w="1297" h="605">
                  <a:moveTo>
                    <a:pt x="1237" y="139"/>
                  </a:moveTo>
                  <a:cubicBezTo>
                    <a:pt x="1177" y="36"/>
                    <a:pt x="1045" y="0"/>
                    <a:pt x="942" y="60"/>
                  </a:cubicBezTo>
                  <a:lnTo>
                    <a:pt x="0" y="604"/>
                  </a:lnTo>
                  <a:lnTo>
                    <a:pt x="864" y="604"/>
                  </a:lnTo>
                  <a:lnTo>
                    <a:pt x="1158" y="434"/>
                  </a:lnTo>
                  <a:cubicBezTo>
                    <a:pt x="1261" y="374"/>
                    <a:pt x="1296" y="242"/>
                    <a:pt x="1237" y="139"/>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4" name="Freeform 61">
              <a:extLst>
                <a:ext uri="{FF2B5EF4-FFF2-40B4-BE49-F238E27FC236}">
                  <a16:creationId xmlns:a16="http://schemas.microsoft.com/office/drawing/2014/main" id="{D1F6682C-47E4-0942-8D63-0E7191B0FF86}"/>
                </a:ext>
              </a:extLst>
            </p:cNvPr>
            <p:cNvSpPr>
              <a:spLocks noChangeArrowheads="1"/>
            </p:cNvSpPr>
            <p:nvPr/>
          </p:nvSpPr>
          <p:spPr bwMode="auto">
            <a:xfrm>
              <a:off x="2116138" y="3849688"/>
              <a:ext cx="174625" cy="227012"/>
            </a:xfrm>
            <a:custGeom>
              <a:avLst/>
              <a:gdLst>
                <a:gd name="T0" fmla="*/ 0 w 484"/>
                <a:gd name="T1" fmla="*/ 352 h 632"/>
                <a:gd name="T2" fmla="*/ 132 w 484"/>
                <a:gd name="T3" fmla="*/ 453 h 632"/>
                <a:gd name="T4" fmla="*/ 153 w 484"/>
                <a:gd name="T5" fmla="*/ 617 h 632"/>
                <a:gd name="T6" fmla="*/ 317 w 484"/>
                <a:gd name="T7" fmla="*/ 595 h 632"/>
                <a:gd name="T8" fmla="*/ 483 w 484"/>
                <a:gd name="T9" fmla="*/ 499 h 632"/>
                <a:gd name="T10" fmla="*/ 483 w 484"/>
                <a:gd name="T11" fmla="*/ 0 h 632"/>
                <a:gd name="T12" fmla="*/ 101 w 484"/>
                <a:gd name="T13" fmla="*/ 221 h 632"/>
                <a:gd name="T14" fmla="*/ 0 w 484"/>
                <a:gd name="T15" fmla="*/ 352 h 6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4" h="632">
                  <a:moveTo>
                    <a:pt x="0" y="352"/>
                  </a:moveTo>
                  <a:cubicBezTo>
                    <a:pt x="54" y="366"/>
                    <a:pt x="102" y="401"/>
                    <a:pt x="132" y="453"/>
                  </a:cubicBezTo>
                  <a:cubicBezTo>
                    <a:pt x="161" y="504"/>
                    <a:pt x="167" y="563"/>
                    <a:pt x="153" y="617"/>
                  </a:cubicBezTo>
                  <a:cubicBezTo>
                    <a:pt x="207" y="631"/>
                    <a:pt x="265" y="625"/>
                    <a:pt x="317" y="595"/>
                  </a:cubicBezTo>
                  <a:lnTo>
                    <a:pt x="483" y="499"/>
                  </a:lnTo>
                  <a:lnTo>
                    <a:pt x="483" y="0"/>
                  </a:lnTo>
                  <a:lnTo>
                    <a:pt x="101" y="221"/>
                  </a:lnTo>
                  <a:cubicBezTo>
                    <a:pt x="49" y="251"/>
                    <a:pt x="15" y="299"/>
                    <a:pt x="0" y="352"/>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5" name="Freeform 62">
              <a:extLst>
                <a:ext uri="{FF2B5EF4-FFF2-40B4-BE49-F238E27FC236}">
                  <a16:creationId xmlns:a16="http://schemas.microsoft.com/office/drawing/2014/main" id="{94070370-F758-A84C-984D-D4DFF7E63A47}"/>
                </a:ext>
              </a:extLst>
            </p:cNvPr>
            <p:cNvSpPr>
              <a:spLocks noChangeArrowheads="1"/>
            </p:cNvSpPr>
            <p:nvPr/>
          </p:nvSpPr>
          <p:spPr bwMode="auto">
            <a:xfrm>
              <a:off x="1639888" y="3576638"/>
              <a:ext cx="336550" cy="144462"/>
            </a:xfrm>
            <a:custGeom>
              <a:avLst/>
              <a:gdLst>
                <a:gd name="T0" fmla="*/ 50 w 934"/>
                <a:gd name="T1" fmla="*/ 260 h 400"/>
                <a:gd name="T2" fmla="*/ 345 w 934"/>
                <a:gd name="T3" fmla="*/ 339 h 400"/>
                <a:gd name="T4" fmla="*/ 933 w 934"/>
                <a:gd name="T5" fmla="*/ 0 h 400"/>
                <a:gd name="T6" fmla="*/ 84 w 934"/>
                <a:gd name="T7" fmla="*/ 0 h 400"/>
                <a:gd name="T8" fmla="*/ 50 w 934"/>
                <a:gd name="T9" fmla="*/ 260 h 400"/>
              </a:gdLst>
              <a:ahLst/>
              <a:cxnLst>
                <a:cxn ang="0">
                  <a:pos x="T0" y="T1"/>
                </a:cxn>
                <a:cxn ang="0">
                  <a:pos x="T2" y="T3"/>
                </a:cxn>
                <a:cxn ang="0">
                  <a:pos x="T4" y="T5"/>
                </a:cxn>
                <a:cxn ang="0">
                  <a:pos x="T6" y="T7"/>
                </a:cxn>
                <a:cxn ang="0">
                  <a:pos x="T8" y="T9"/>
                </a:cxn>
              </a:cxnLst>
              <a:rect l="0" t="0" r="r" b="b"/>
              <a:pathLst>
                <a:path w="934" h="400">
                  <a:moveTo>
                    <a:pt x="50" y="260"/>
                  </a:moveTo>
                  <a:cubicBezTo>
                    <a:pt x="109" y="363"/>
                    <a:pt x="241" y="399"/>
                    <a:pt x="345" y="339"/>
                  </a:cubicBezTo>
                  <a:lnTo>
                    <a:pt x="933" y="0"/>
                  </a:lnTo>
                  <a:lnTo>
                    <a:pt x="84" y="0"/>
                  </a:lnTo>
                  <a:cubicBezTo>
                    <a:pt x="16" y="67"/>
                    <a:pt x="0" y="174"/>
                    <a:pt x="50" y="26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6" name="Freeform 63">
              <a:extLst>
                <a:ext uri="{FF2B5EF4-FFF2-40B4-BE49-F238E27FC236}">
                  <a16:creationId xmlns:a16="http://schemas.microsoft.com/office/drawing/2014/main" id="{3A5E6721-838F-AD4D-A330-06A977A14263}"/>
                </a:ext>
              </a:extLst>
            </p:cNvPr>
            <p:cNvSpPr>
              <a:spLocks noChangeArrowheads="1"/>
            </p:cNvSpPr>
            <p:nvPr/>
          </p:nvSpPr>
          <p:spPr bwMode="auto">
            <a:xfrm>
              <a:off x="1260475" y="3829050"/>
              <a:ext cx="77788" cy="153988"/>
            </a:xfrm>
            <a:custGeom>
              <a:avLst/>
              <a:gdLst>
                <a:gd name="T0" fmla="*/ 154 w 215"/>
                <a:gd name="T1" fmla="*/ 105 h 427"/>
                <a:gd name="T2" fmla="*/ 0 w 215"/>
                <a:gd name="T3" fmla="*/ 0 h 427"/>
                <a:gd name="T4" fmla="*/ 0 w 215"/>
                <a:gd name="T5" fmla="*/ 66 h 427"/>
                <a:gd name="T6" fmla="*/ 98 w 215"/>
                <a:gd name="T7" fmla="*/ 137 h 427"/>
                <a:gd name="T8" fmla="*/ 43 w 215"/>
                <a:gd name="T9" fmla="*/ 343 h 427"/>
                <a:gd name="T10" fmla="*/ 0 w 215"/>
                <a:gd name="T11" fmla="*/ 359 h 427"/>
                <a:gd name="T12" fmla="*/ 0 w 215"/>
                <a:gd name="T13" fmla="*/ 426 h 427"/>
                <a:gd name="T14" fmla="*/ 75 w 215"/>
                <a:gd name="T15" fmla="*/ 400 h 427"/>
                <a:gd name="T16" fmla="*/ 154 w 215"/>
                <a:gd name="T17" fmla="*/ 105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427">
                  <a:moveTo>
                    <a:pt x="154" y="105"/>
                  </a:moveTo>
                  <a:cubicBezTo>
                    <a:pt x="120" y="47"/>
                    <a:pt x="63" y="10"/>
                    <a:pt x="0" y="0"/>
                  </a:cubicBezTo>
                  <a:lnTo>
                    <a:pt x="0" y="66"/>
                  </a:lnTo>
                  <a:cubicBezTo>
                    <a:pt x="41" y="75"/>
                    <a:pt x="77" y="100"/>
                    <a:pt x="98" y="137"/>
                  </a:cubicBezTo>
                  <a:cubicBezTo>
                    <a:pt x="139" y="209"/>
                    <a:pt x="115" y="301"/>
                    <a:pt x="43" y="343"/>
                  </a:cubicBezTo>
                  <a:cubicBezTo>
                    <a:pt x="29" y="351"/>
                    <a:pt x="15" y="356"/>
                    <a:pt x="0" y="359"/>
                  </a:cubicBezTo>
                  <a:lnTo>
                    <a:pt x="0" y="426"/>
                  </a:lnTo>
                  <a:cubicBezTo>
                    <a:pt x="26" y="422"/>
                    <a:pt x="51" y="413"/>
                    <a:pt x="75" y="400"/>
                  </a:cubicBezTo>
                  <a:cubicBezTo>
                    <a:pt x="179" y="340"/>
                    <a:pt x="214" y="208"/>
                    <a:pt x="154" y="105"/>
                  </a:cubicBezTo>
                </a:path>
              </a:pathLst>
            </a:custGeom>
            <a:solidFill>
              <a:schemeClr val="accent1">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7" name="Freeform 64">
              <a:extLst>
                <a:ext uri="{FF2B5EF4-FFF2-40B4-BE49-F238E27FC236}">
                  <a16:creationId xmlns:a16="http://schemas.microsoft.com/office/drawing/2014/main" id="{72A1A936-A9A8-ED4D-990F-215D8E05EA07}"/>
                </a:ext>
              </a:extLst>
            </p:cNvPr>
            <p:cNvSpPr>
              <a:spLocks noChangeArrowheads="1"/>
            </p:cNvSpPr>
            <p:nvPr/>
          </p:nvSpPr>
          <p:spPr bwMode="auto">
            <a:xfrm>
              <a:off x="2011466" y="3970303"/>
              <a:ext cx="163513" cy="169863"/>
            </a:xfrm>
            <a:custGeom>
              <a:avLst/>
              <a:gdLst>
                <a:gd name="T0" fmla="*/ 324 w 456"/>
                <a:gd name="T1" fmla="*/ 178 h 470"/>
                <a:gd name="T2" fmla="*/ 302 w 456"/>
                <a:gd name="T3" fmla="*/ 14 h 470"/>
                <a:gd name="T4" fmla="*/ 139 w 456"/>
                <a:gd name="T5" fmla="*/ 36 h 470"/>
                <a:gd name="T6" fmla="*/ 60 w 456"/>
                <a:gd name="T7" fmla="*/ 331 h 470"/>
                <a:gd name="T8" fmla="*/ 355 w 456"/>
                <a:gd name="T9" fmla="*/ 410 h 470"/>
                <a:gd name="T10" fmla="*/ 455 w 456"/>
                <a:gd name="T11" fmla="*/ 279 h 470"/>
                <a:gd name="T12" fmla="*/ 324 w 456"/>
                <a:gd name="T13" fmla="*/ 178 h 470"/>
              </a:gdLst>
              <a:ahLst/>
              <a:cxnLst>
                <a:cxn ang="0">
                  <a:pos x="T0" y="T1"/>
                </a:cxn>
                <a:cxn ang="0">
                  <a:pos x="T2" y="T3"/>
                </a:cxn>
                <a:cxn ang="0">
                  <a:pos x="T4" y="T5"/>
                </a:cxn>
                <a:cxn ang="0">
                  <a:pos x="T6" y="T7"/>
                </a:cxn>
                <a:cxn ang="0">
                  <a:pos x="T8" y="T9"/>
                </a:cxn>
                <a:cxn ang="0">
                  <a:pos x="T10" y="T11"/>
                </a:cxn>
                <a:cxn ang="0">
                  <a:pos x="T12" y="T13"/>
                </a:cxn>
              </a:cxnLst>
              <a:rect l="0" t="0" r="r" b="b"/>
              <a:pathLst>
                <a:path w="456" h="470">
                  <a:moveTo>
                    <a:pt x="324" y="178"/>
                  </a:moveTo>
                  <a:cubicBezTo>
                    <a:pt x="294" y="126"/>
                    <a:pt x="288" y="67"/>
                    <a:pt x="302" y="14"/>
                  </a:cubicBezTo>
                  <a:cubicBezTo>
                    <a:pt x="249" y="0"/>
                    <a:pt x="190" y="6"/>
                    <a:pt x="139" y="36"/>
                  </a:cubicBezTo>
                  <a:cubicBezTo>
                    <a:pt x="35" y="95"/>
                    <a:pt x="0" y="228"/>
                    <a:pt x="60" y="331"/>
                  </a:cubicBezTo>
                  <a:cubicBezTo>
                    <a:pt x="119" y="435"/>
                    <a:pt x="251" y="469"/>
                    <a:pt x="355" y="410"/>
                  </a:cubicBezTo>
                  <a:cubicBezTo>
                    <a:pt x="406" y="380"/>
                    <a:pt x="441" y="332"/>
                    <a:pt x="455" y="279"/>
                  </a:cubicBezTo>
                  <a:cubicBezTo>
                    <a:pt x="402" y="264"/>
                    <a:pt x="354" y="230"/>
                    <a:pt x="324" y="178"/>
                  </a:cubicBezTo>
                </a:path>
              </a:pathLst>
            </a:custGeom>
            <a:solidFill>
              <a:schemeClr val="accent4">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8" name="Freeform 65">
              <a:extLst>
                <a:ext uri="{FF2B5EF4-FFF2-40B4-BE49-F238E27FC236}">
                  <a16:creationId xmlns:a16="http://schemas.microsoft.com/office/drawing/2014/main" id="{6CFDFA04-DBD1-F941-A784-26A0CB719DC0}"/>
                </a:ext>
              </a:extLst>
            </p:cNvPr>
            <p:cNvSpPr>
              <a:spLocks noChangeArrowheads="1"/>
            </p:cNvSpPr>
            <p:nvPr/>
          </p:nvSpPr>
          <p:spPr bwMode="auto">
            <a:xfrm>
              <a:off x="2112569" y="3970303"/>
              <a:ext cx="69450" cy="101635"/>
            </a:xfrm>
            <a:custGeom>
              <a:avLst/>
              <a:gdLst>
                <a:gd name="T0" fmla="*/ 146 w 182"/>
                <a:gd name="T1" fmla="*/ 101 h 266"/>
                <a:gd name="T2" fmla="*/ 14 w 182"/>
                <a:gd name="T3" fmla="*/ 0 h 266"/>
                <a:gd name="T4" fmla="*/ 36 w 182"/>
                <a:gd name="T5" fmla="*/ 164 h 266"/>
                <a:gd name="T6" fmla="*/ 167 w 182"/>
                <a:gd name="T7" fmla="*/ 265 h 266"/>
                <a:gd name="T8" fmla="*/ 146 w 182"/>
                <a:gd name="T9" fmla="*/ 101 h 266"/>
              </a:gdLst>
              <a:ahLst/>
              <a:cxnLst>
                <a:cxn ang="0">
                  <a:pos x="T0" y="T1"/>
                </a:cxn>
                <a:cxn ang="0">
                  <a:pos x="T2" y="T3"/>
                </a:cxn>
                <a:cxn ang="0">
                  <a:pos x="T4" y="T5"/>
                </a:cxn>
                <a:cxn ang="0">
                  <a:pos x="T6" y="T7"/>
                </a:cxn>
                <a:cxn ang="0">
                  <a:pos x="T8" y="T9"/>
                </a:cxn>
              </a:cxnLst>
              <a:rect l="0" t="0" r="r" b="b"/>
              <a:pathLst>
                <a:path w="182" h="266">
                  <a:moveTo>
                    <a:pt x="146" y="101"/>
                  </a:moveTo>
                  <a:cubicBezTo>
                    <a:pt x="116" y="49"/>
                    <a:pt x="68" y="14"/>
                    <a:pt x="14" y="0"/>
                  </a:cubicBezTo>
                  <a:cubicBezTo>
                    <a:pt x="0" y="53"/>
                    <a:pt x="6" y="112"/>
                    <a:pt x="36" y="164"/>
                  </a:cubicBezTo>
                  <a:cubicBezTo>
                    <a:pt x="66" y="216"/>
                    <a:pt x="114" y="250"/>
                    <a:pt x="167" y="265"/>
                  </a:cubicBezTo>
                  <a:cubicBezTo>
                    <a:pt x="181" y="211"/>
                    <a:pt x="175" y="152"/>
                    <a:pt x="146" y="101"/>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37567410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EMPT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kstvak 6">
            <a:extLst>
              <a:ext uri="{FF2B5EF4-FFF2-40B4-BE49-F238E27FC236}">
                <a16:creationId xmlns:a16="http://schemas.microsoft.com/office/drawing/2014/main" id="{A6DE5EA5-27BD-42F3-BD1D-C1E35D802DEE}"/>
              </a:ext>
            </a:extLst>
          </p:cNvPr>
          <p:cNvSpPr txBox="1"/>
          <p:nvPr userDrawn="1"/>
        </p:nvSpPr>
        <p:spPr>
          <a:xfrm>
            <a:off x="5451176" y="-885712"/>
            <a:ext cx="1289686" cy="548182"/>
          </a:xfrm>
          <a:prstGeom prst="rect">
            <a:avLst/>
          </a:prstGeom>
          <a:solidFill>
            <a:schemeClr val="accent1"/>
          </a:solidFill>
        </p:spPr>
        <p:txBody>
          <a:bodyPr wrap="none" lIns="360000" tIns="180000" rIns="360000" bIns="180000" rtlCol="0">
            <a:spAutoFit/>
          </a:bodyPr>
          <a:lstStyle/>
          <a:p>
            <a:pPr algn="ctr"/>
            <a:r>
              <a:rPr lang="nl-NL" sz="1200" b="0" spc="50" baseline="0" dirty="0">
                <a:solidFill>
                  <a:schemeClr val="bg1"/>
                </a:solidFill>
                <a:latin typeface="+mn-lt"/>
                <a:cs typeface="Calibri" panose="020F0502020204030204" pitchFamily="34" charset="0"/>
              </a:rPr>
              <a:t>EMPTY</a:t>
            </a:r>
          </a:p>
        </p:txBody>
      </p:sp>
      <p:grpSp>
        <p:nvGrpSpPr>
          <p:cNvPr id="9" name="GRID" hidden="1">
            <a:extLst>
              <a:ext uri="{FF2B5EF4-FFF2-40B4-BE49-F238E27FC236}">
                <a16:creationId xmlns:a16="http://schemas.microsoft.com/office/drawing/2014/main" id="{51FA94CB-6590-46F4-8087-8D3B87037E96}"/>
              </a:ext>
            </a:extLst>
          </p:cNvPr>
          <p:cNvGrpSpPr/>
          <p:nvPr userDrawn="1"/>
        </p:nvGrpSpPr>
        <p:grpSpPr>
          <a:xfrm>
            <a:off x="0" y="0"/>
            <a:ext cx="12192001" cy="6858000"/>
            <a:chOff x="0" y="0"/>
            <a:chExt cx="12192001" cy="6858000"/>
          </a:xfrm>
          <a:solidFill>
            <a:schemeClr val="accent1">
              <a:alpha val="49000"/>
            </a:schemeClr>
          </a:solidFill>
        </p:grpSpPr>
        <p:sp>
          <p:nvSpPr>
            <p:cNvPr id="10" name="Rechthoek 9">
              <a:extLst>
                <a:ext uri="{FF2B5EF4-FFF2-40B4-BE49-F238E27FC236}">
                  <a16:creationId xmlns:a16="http://schemas.microsoft.com/office/drawing/2014/main" id="{FE26218F-29CA-4C38-A7B9-856DD203405C}"/>
                </a:ext>
              </a:extLst>
            </p:cNvPr>
            <p:cNvSpPr/>
            <p:nvPr userDrawn="1"/>
          </p:nvSpPr>
          <p:spPr>
            <a:xfrm>
              <a:off x="0" y="0"/>
              <a:ext cx="12192000" cy="70770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1" name="Rechthoek 10">
              <a:extLst>
                <a:ext uri="{FF2B5EF4-FFF2-40B4-BE49-F238E27FC236}">
                  <a16:creationId xmlns:a16="http://schemas.microsoft.com/office/drawing/2014/main" id="{DD99824B-F195-48AD-8361-BBBC388E15B2}"/>
                </a:ext>
              </a:extLst>
            </p:cNvPr>
            <p:cNvSpPr/>
            <p:nvPr userDrawn="1"/>
          </p:nvSpPr>
          <p:spPr>
            <a:xfrm>
              <a:off x="0" y="1308447"/>
              <a:ext cx="12192000" cy="156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2" name="Rechthoek 11">
              <a:extLst>
                <a:ext uri="{FF2B5EF4-FFF2-40B4-BE49-F238E27FC236}">
                  <a16:creationId xmlns:a16="http://schemas.microsoft.com/office/drawing/2014/main" id="{090E162F-12C8-4AE2-9BB8-F9880B0CAE3F}"/>
                </a:ext>
              </a:extLst>
            </p:cNvPr>
            <p:cNvSpPr/>
            <p:nvPr userDrawn="1"/>
          </p:nvSpPr>
          <p:spPr>
            <a:xfrm>
              <a:off x="0" y="5934343"/>
              <a:ext cx="12192000" cy="2509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3" name="Rechthoek 12">
              <a:extLst>
                <a:ext uri="{FF2B5EF4-FFF2-40B4-BE49-F238E27FC236}">
                  <a16:creationId xmlns:a16="http://schemas.microsoft.com/office/drawing/2014/main" id="{FE2F9DA5-E478-4EB3-B711-926FDD03A279}"/>
                </a:ext>
              </a:extLst>
            </p:cNvPr>
            <p:cNvSpPr/>
            <p:nvPr userDrawn="1"/>
          </p:nvSpPr>
          <p:spPr>
            <a:xfrm>
              <a:off x="0" y="6402152"/>
              <a:ext cx="12192000" cy="45584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4" name="Rechthoek 13">
              <a:extLst>
                <a:ext uri="{FF2B5EF4-FFF2-40B4-BE49-F238E27FC236}">
                  <a16:creationId xmlns:a16="http://schemas.microsoft.com/office/drawing/2014/main" id="{E2901B7D-23C2-40D3-8D03-0A74FF0E8B78}"/>
                </a:ext>
              </a:extLst>
            </p:cNvPr>
            <p:cNvSpPr/>
            <p:nvPr userDrawn="1"/>
          </p:nvSpPr>
          <p:spPr>
            <a:xfrm>
              <a:off x="0" y="0"/>
              <a:ext cx="444500"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5" name="Rechthoek 14">
              <a:extLst>
                <a:ext uri="{FF2B5EF4-FFF2-40B4-BE49-F238E27FC236}">
                  <a16:creationId xmlns:a16="http://schemas.microsoft.com/office/drawing/2014/main" id="{B5B7CB31-E0BC-4704-A8B6-D0B4EDA15F5A}"/>
                </a:ext>
              </a:extLst>
            </p:cNvPr>
            <p:cNvSpPr/>
            <p:nvPr userDrawn="1"/>
          </p:nvSpPr>
          <p:spPr>
            <a:xfrm>
              <a:off x="11738415"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sp>
          <p:nvSpPr>
            <p:cNvPr id="16" name="Rechthoek 15">
              <a:extLst>
                <a:ext uri="{FF2B5EF4-FFF2-40B4-BE49-F238E27FC236}">
                  <a16:creationId xmlns:a16="http://schemas.microsoft.com/office/drawing/2014/main" id="{B2165875-FD52-4018-A504-59B26012B64E}"/>
                </a:ext>
              </a:extLst>
            </p:cNvPr>
            <p:cNvSpPr/>
            <p:nvPr userDrawn="1"/>
          </p:nvSpPr>
          <p:spPr>
            <a:xfrm>
              <a:off x="7558369" y="0"/>
              <a:ext cx="453586" cy="6858000"/>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dirty="0"/>
            </a:p>
          </p:txBody>
        </p:sp>
      </p:grpSp>
      <p:sp>
        <p:nvSpPr>
          <p:cNvPr id="6" name="Tijdelijke aanduiding voor dianummer 5">
            <a:extLst>
              <a:ext uri="{FF2B5EF4-FFF2-40B4-BE49-F238E27FC236}">
                <a16:creationId xmlns:a16="http://schemas.microsoft.com/office/drawing/2014/main" id="{4D6B08DF-E31D-400F-9D49-014B2090B3C2}"/>
              </a:ext>
            </a:extLst>
          </p:cNvPr>
          <p:cNvSpPr>
            <a:spLocks noGrp="1"/>
          </p:cNvSpPr>
          <p:nvPr>
            <p:ph type="sldNum" sz="quarter" idx="12"/>
          </p:nvPr>
        </p:nvSpPr>
        <p:spPr/>
        <p:txBody>
          <a:bodyPr/>
          <a:lstStyle/>
          <a:p>
            <a:fld id="{7AD0FE45-509C-4BDF-9EDE-64426F8DF3D2}" type="slidenum">
              <a:rPr lang="nl-NL" smtClean="0"/>
              <a:t>‹#›</a:t>
            </a:fld>
            <a:endParaRPr lang="nl-NL" dirty="0"/>
          </a:p>
        </p:txBody>
      </p:sp>
      <p:sp>
        <p:nvSpPr>
          <p:cNvPr id="2" name="Titel 1">
            <a:extLst>
              <a:ext uri="{FF2B5EF4-FFF2-40B4-BE49-F238E27FC236}">
                <a16:creationId xmlns:a16="http://schemas.microsoft.com/office/drawing/2014/main" id="{756C6461-F415-4049-95FC-0B4C71916603}"/>
              </a:ext>
            </a:extLst>
          </p:cNvPr>
          <p:cNvSpPr>
            <a:spLocks noGrp="1"/>
          </p:cNvSpPr>
          <p:nvPr>
            <p:ph type="title" hasCustomPrompt="1"/>
          </p:nvPr>
        </p:nvSpPr>
        <p:spPr>
          <a:xfrm>
            <a:off x="0" y="60158"/>
            <a:ext cx="12191996" cy="504000"/>
          </a:xfrm>
        </p:spPr>
        <p:txBody>
          <a:bodyPr/>
          <a:lstStyle>
            <a:lvl1pPr>
              <a:defRPr/>
            </a:lvl1pPr>
          </a:lstStyle>
          <a:p>
            <a:r>
              <a:rPr lang="nl-NL" dirty="0"/>
              <a:t>Click </a:t>
            </a:r>
            <a:r>
              <a:rPr lang="nl-NL" dirty="0" err="1"/>
              <a:t>to</a:t>
            </a:r>
            <a:r>
              <a:rPr lang="nl-NL" dirty="0"/>
              <a:t> </a:t>
            </a:r>
            <a:r>
              <a:rPr lang="nl-NL" dirty="0" err="1"/>
              <a:t>add</a:t>
            </a:r>
            <a:r>
              <a:rPr lang="nl-NL" dirty="0"/>
              <a:t> a </a:t>
            </a:r>
            <a:r>
              <a:rPr lang="nl-NL" dirty="0" err="1"/>
              <a:t>title</a:t>
            </a:r>
            <a:endParaRPr lang="nl-NL" dirty="0"/>
          </a:p>
        </p:txBody>
      </p:sp>
    </p:spTree>
    <p:extLst>
      <p:ext uri="{BB962C8B-B14F-4D97-AF65-F5344CB8AC3E}">
        <p14:creationId xmlns:p14="http://schemas.microsoft.com/office/powerpoint/2010/main" val="663101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Title Slide v1">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875600" y="2286000"/>
            <a:ext cx="7970400" cy="1884008"/>
          </a:xfrm>
        </p:spPr>
        <p:txBody>
          <a:bodyPr/>
          <a:lstStyle>
            <a:lvl1pPr algn="l">
              <a:lnSpc>
                <a:spcPts val="6630"/>
              </a:lnSpc>
              <a:defRPr sz="6630"/>
            </a:lvl1pPr>
          </a:lstStyle>
          <a:p>
            <a:r>
              <a:rPr lang="en-GB" dirty="0"/>
              <a:t>Title Slide</a:t>
            </a:r>
            <a:endParaRPr lang="en-GB" noProof="0" dirty="0"/>
          </a:p>
        </p:txBody>
      </p:sp>
      <p:sp>
        <p:nvSpPr>
          <p:cNvPr id="3" name="Subtitle 2"/>
          <p:cNvSpPr>
            <a:spLocks noGrp="1"/>
          </p:cNvSpPr>
          <p:nvPr>
            <p:ph type="subTitle" idx="1"/>
          </p:nvPr>
        </p:nvSpPr>
        <p:spPr>
          <a:xfrm>
            <a:off x="1875600" y="4170008"/>
            <a:ext cx="7970400" cy="226795"/>
          </a:xfrm>
        </p:spPr>
        <p:txBody>
          <a:bodyPr/>
          <a:lstStyle>
            <a:lvl1pPr marL="0" indent="0" algn="l">
              <a:lnSpc>
                <a:spcPts val="1590"/>
              </a:lnSpc>
              <a:spcAft>
                <a:spcPts val="0"/>
              </a:spcAft>
              <a:buNone/>
              <a:defRPr sz="141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sp>
        <p:nvSpPr>
          <p:cNvPr id="4" name="Date Placeholder 3"/>
          <p:cNvSpPr>
            <a:spLocks noGrp="1"/>
          </p:cNvSpPr>
          <p:nvPr>
            <p:ph type="dt" sz="half" idx="10"/>
          </p:nvPr>
        </p:nvSpPr>
        <p:spPr>
          <a:xfrm>
            <a:off x="1875600" y="4414345"/>
            <a:ext cx="3996000" cy="288000"/>
          </a:xfrm>
        </p:spPr>
        <p:txBody>
          <a:bodyPr anchor="t" anchorCtr="0"/>
          <a:lstStyle>
            <a:lvl1pPr>
              <a:lnSpc>
                <a:spcPts val="1590"/>
              </a:lnSpc>
              <a:defRPr sz="1410">
                <a:solidFill>
                  <a:schemeClr val="accent2"/>
                </a:solidFill>
              </a:defRPr>
            </a:lvl1pPr>
          </a:lstStyle>
          <a:p>
            <a:pPr>
              <a:lnSpc>
                <a:spcPts val="1590"/>
              </a:lnSpc>
            </a:pPr>
            <a:fld id="{9A708738-6868-44B0-981A-2E4BF8B12E78}" type="datetime3">
              <a:rPr lang="en-US" smtClean="0"/>
              <a:t>22 December 2023</a:t>
            </a:fld>
            <a:endParaRPr lang="en-GB" dirty="0"/>
          </a:p>
        </p:txBody>
      </p:sp>
      <p:grpSp>
        <p:nvGrpSpPr>
          <p:cNvPr id="9" name="Group 8">
            <a:extLst>
              <a:ext uri="{FF2B5EF4-FFF2-40B4-BE49-F238E27FC236}">
                <a16:creationId xmlns:a16="http://schemas.microsoft.com/office/drawing/2014/main" id="{5358B5AA-8100-8043-8FB0-1D9A9ACA83AF}"/>
              </a:ext>
            </a:extLst>
          </p:cNvPr>
          <p:cNvGrpSpPr/>
          <p:nvPr userDrawn="1"/>
        </p:nvGrpSpPr>
        <p:grpSpPr>
          <a:xfrm>
            <a:off x="-5779" y="0"/>
            <a:ext cx="12253772" cy="6858001"/>
            <a:chOff x="1258607" y="212725"/>
            <a:chExt cx="1035331" cy="579438"/>
          </a:xfrm>
        </p:grpSpPr>
        <p:sp>
          <p:nvSpPr>
            <p:cNvPr id="10" name="Freeform 15">
              <a:extLst>
                <a:ext uri="{FF2B5EF4-FFF2-40B4-BE49-F238E27FC236}">
                  <a16:creationId xmlns:a16="http://schemas.microsoft.com/office/drawing/2014/main" id="{A741B522-5CBF-334E-AF90-C17DD1FDE467}"/>
                </a:ext>
              </a:extLst>
            </p:cNvPr>
            <p:cNvSpPr>
              <a:spLocks noChangeArrowheads="1"/>
            </p:cNvSpPr>
            <p:nvPr/>
          </p:nvSpPr>
          <p:spPr bwMode="auto">
            <a:xfrm>
              <a:off x="1258607" y="536575"/>
              <a:ext cx="131763" cy="155575"/>
            </a:xfrm>
            <a:custGeom>
              <a:avLst/>
              <a:gdLst>
                <a:gd name="T0" fmla="*/ 228 w 368"/>
                <a:gd name="T1" fmla="*/ 403 h 433"/>
                <a:gd name="T2" fmla="*/ 307 w 368"/>
                <a:gd name="T3" fmla="*/ 108 h 433"/>
                <a:gd name="T4" fmla="*/ 120 w 368"/>
                <a:gd name="T5" fmla="*/ 0 h 433"/>
                <a:gd name="T6" fmla="*/ 12 w 368"/>
                <a:gd name="T7" fmla="*/ 29 h 433"/>
                <a:gd name="T8" fmla="*/ 0 w 368"/>
                <a:gd name="T9" fmla="*/ 36 h 433"/>
                <a:gd name="T10" fmla="*/ 0 w 368"/>
                <a:gd name="T11" fmla="*/ 125 h 433"/>
                <a:gd name="T12" fmla="*/ 45 w 368"/>
                <a:gd name="T13" fmla="*/ 85 h 433"/>
                <a:gd name="T14" fmla="*/ 120 w 368"/>
                <a:gd name="T15" fmla="*/ 65 h 433"/>
                <a:gd name="T16" fmla="*/ 120 w 368"/>
                <a:gd name="T17" fmla="*/ 65 h 433"/>
                <a:gd name="T18" fmla="*/ 251 w 368"/>
                <a:gd name="T19" fmla="*/ 140 h 433"/>
                <a:gd name="T20" fmla="*/ 266 w 368"/>
                <a:gd name="T21" fmla="*/ 255 h 433"/>
                <a:gd name="T22" fmla="*/ 195 w 368"/>
                <a:gd name="T23" fmla="*/ 346 h 433"/>
                <a:gd name="T24" fmla="*/ 120 w 368"/>
                <a:gd name="T25" fmla="*/ 366 h 433"/>
                <a:gd name="T26" fmla="*/ 0 w 368"/>
                <a:gd name="T27" fmla="*/ 307 h 433"/>
                <a:gd name="T28" fmla="*/ 0 w 368"/>
                <a:gd name="T29" fmla="*/ 395 h 433"/>
                <a:gd name="T30" fmla="*/ 120 w 368"/>
                <a:gd name="T31" fmla="*/ 432 h 433"/>
                <a:gd name="T32" fmla="*/ 228 w 368"/>
                <a:gd name="T33" fmla="*/ 403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8" h="433">
                  <a:moveTo>
                    <a:pt x="228" y="403"/>
                  </a:moveTo>
                  <a:cubicBezTo>
                    <a:pt x="331" y="343"/>
                    <a:pt x="367" y="211"/>
                    <a:pt x="307" y="108"/>
                  </a:cubicBezTo>
                  <a:cubicBezTo>
                    <a:pt x="267" y="38"/>
                    <a:pt x="195" y="0"/>
                    <a:pt x="120" y="0"/>
                  </a:cubicBezTo>
                  <a:cubicBezTo>
                    <a:pt x="83" y="0"/>
                    <a:pt x="46" y="9"/>
                    <a:pt x="12" y="29"/>
                  </a:cubicBezTo>
                  <a:cubicBezTo>
                    <a:pt x="8" y="31"/>
                    <a:pt x="4" y="34"/>
                    <a:pt x="0" y="36"/>
                  </a:cubicBezTo>
                  <a:lnTo>
                    <a:pt x="0" y="125"/>
                  </a:lnTo>
                  <a:cubicBezTo>
                    <a:pt x="12" y="109"/>
                    <a:pt x="27" y="96"/>
                    <a:pt x="45" y="85"/>
                  </a:cubicBezTo>
                  <a:cubicBezTo>
                    <a:pt x="68" y="72"/>
                    <a:pt x="94" y="65"/>
                    <a:pt x="120" y="65"/>
                  </a:cubicBezTo>
                  <a:lnTo>
                    <a:pt x="120" y="65"/>
                  </a:lnTo>
                  <a:cubicBezTo>
                    <a:pt x="174" y="65"/>
                    <a:pt x="224" y="94"/>
                    <a:pt x="251" y="140"/>
                  </a:cubicBezTo>
                  <a:cubicBezTo>
                    <a:pt x="271" y="175"/>
                    <a:pt x="276" y="216"/>
                    <a:pt x="266" y="255"/>
                  </a:cubicBezTo>
                  <a:cubicBezTo>
                    <a:pt x="255" y="294"/>
                    <a:pt x="230" y="326"/>
                    <a:pt x="195" y="346"/>
                  </a:cubicBezTo>
                  <a:cubicBezTo>
                    <a:pt x="172" y="359"/>
                    <a:pt x="147" y="366"/>
                    <a:pt x="120" y="366"/>
                  </a:cubicBezTo>
                  <a:cubicBezTo>
                    <a:pt x="73" y="366"/>
                    <a:pt x="28" y="344"/>
                    <a:pt x="0" y="307"/>
                  </a:cubicBezTo>
                  <a:lnTo>
                    <a:pt x="0" y="395"/>
                  </a:lnTo>
                  <a:cubicBezTo>
                    <a:pt x="36" y="419"/>
                    <a:pt x="78" y="432"/>
                    <a:pt x="120" y="432"/>
                  </a:cubicBezTo>
                  <a:cubicBezTo>
                    <a:pt x="157" y="432"/>
                    <a:pt x="194" y="422"/>
                    <a:pt x="228" y="403"/>
                  </a:cubicBezTo>
                </a:path>
              </a:pathLst>
            </a:custGeom>
            <a:solidFill>
              <a:schemeClr val="accent4">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1" name="Freeform 16">
              <a:extLst>
                <a:ext uri="{FF2B5EF4-FFF2-40B4-BE49-F238E27FC236}">
                  <a16:creationId xmlns:a16="http://schemas.microsoft.com/office/drawing/2014/main" id="{2D12E764-F161-304F-B6BD-60C26788509A}"/>
                </a:ext>
              </a:extLst>
            </p:cNvPr>
            <p:cNvSpPr>
              <a:spLocks noChangeArrowheads="1"/>
            </p:cNvSpPr>
            <p:nvPr/>
          </p:nvSpPr>
          <p:spPr bwMode="auto">
            <a:xfrm>
              <a:off x="2155825" y="382588"/>
              <a:ext cx="138113" cy="155575"/>
            </a:xfrm>
            <a:custGeom>
              <a:avLst/>
              <a:gdLst>
                <a:gd name="T0" fmla="*/ 209 w 382"/>
                <a:gd name="T1" fmla="*/ 0 h 433"/>
                <a:gd name="T2" fmla="*/ 101 w 382"/>
                <a:gd name="T3" fmla="*/ 29 h 433"/>
                <a:gd name="T4" fmla="*/ 0 w 382"/>
                <a:gd name="T5" fmla="*/ 160 h 433"/>
                <a:gd name="T6" fmla="*/ 61 w 382"/>
                <a:gd name="T7" fmla="*/ 187 h 433"/>
                <a:gd name="T8" fmla="*/ 63 w 382"/>
                <a:gd name="T9" fmla="*/ 177 h 433"/>
                <a:gd name="T10" fmla="*/ 134 w 382"/>
                <a:gd name="T11" fmla="*/ 85 h 433"/>
                <a:gd name="T12" fmla="*/ 209 w 382"/>
                <a:gd name="T13" fmla="*/ 65 h 433"/>
                <a:gd name="T14" fmla="*/ 209 w 382"/>
                <a:gd name="T15" fmla="*/ 65 h 433"/>
                <a:gd name="T16" fmla="*/ 339 w 382"/>
                <a:gd name="T17" fmla="*/ 140 h 433"/>
                <a:gd name="T18" fmla="*/ 284 w 382"/>
                <a:gd name="T19" fmla="*/ 346 h 433"/>
                <a:gd name="T20" fmla="*/ 209 w 382"/>
                <a:gd name="T21" fmla="*/ 366 h 433"/>
                <a:gd name="T22" fmla="*/ 160 w 382"/>
                <a:gd name="T23" fmla="*/ 358 h 433"/>
                <a:gd name="T24" fmla="*/ 153 w 382"/>
                <a:gd name="T25" fmla="*/ 424 h 433"/>
                <a:gd name="T26" fmla="*/ 209 w 382"/>
                <a:gd name="T27" fmla="*/ 432 h 433"/>
                <a:gd name="T28" fmla="*/ 317 w 382"/>
                <a:gd name="T29" fmla="*/ 403 h 433"/>
                <a:gd name="T30" fmla="*/ 371 w 382"/>
                <a:gd name="T31" fmla="*/ 358 h 433"/>
                <a:gd name="T32" fmla="*/ 371 w 382"/>
                <a:gd name="T33" fmla="*/ 73 h 433"/>
                <a:gd name="T34" fmla="*/ 209 w 382"/>
                <a:gd name="T35" fmla="*/ 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2" h="433">
                  <a:moveTo>
                    <a:pt x="209" y="0"/>
                  </a:moveTo>
                  <a:cubicBezTo>
                    <a:pt x="172" y="0"/>
                    <a:pt x="135" y="9"/>
                    <a:pt x="101" y="29"/>
                  </a:cubicBezTo>
                  <a:cubicBezTo>
                    <a:pt x="49" y="58"/>
                    <a:pt x="15" y="106"/>
                    <a:pt x="0" y="160"/>
                  </a:cubicBezTo>
                  <a:cubicBezTo>
                    <a:pt x="22" y="165"/>
                    <a:pt x="42" y="175"/>
                    <a:pt x="61" y="187"/>
                  </a:cubicBezTo>
                  <a:cubicBezTo>
                    <a:pt x="62" y="183"/>
                    <a:pt x="63" y="180"/>
                    <a:pt x="63" y="177"/>
                  </a:cubicBezTo>
                  <a:cubicBezTo>
                    <a:pt x="74" y="138"/>
                    <a:pt x="99" y="105"/>
                    <a:pt x="134" y="85"/>
                  </a:cubicBezTo>
                  <a:cubicBezTo>
                    <a:pt x="156" y="72"/>
                    <a:pt x="182" y="65"/>
                    <a:pt x="209" y="65"/>
                  </a:cubicBezTo>
                  <a:lnTo>
                    <a:pt x="209" y="65"/>
                  </a:lnTo>
                  <a:cubicBezTo>
                    <a:pt x="262" y="65"/>
                    <a:pt x="312" y="94"/>
                    <a:pt x="339" y="140"/>
                  </a:cubicBezTo>
                  <a:cubicBezTo>
                    <a:pt x="381" y="212"/>
                    <a:pt x="356" y="304"/>
                    <a:pt x="284" y="346"/>
                  </a:cubicBezTo>
                  <a:cubicBezTo>
                    <a:pt x="261" y="359"/>
                    <a:pt x="235" y="366"/>
                    <a:pt x="209" y="366"/>
                  </a:cubicBezTo>
                  <a:cubicBezTo>
                    <a:pt x="192" y="366"/>
                    <a:pt x="176" y="363"/>
                    <a:pt x="160" y="358"/>
                  </a:cubicBezTo>
                  <a:cubicBezTo>
                    <a:pt x="161" y="380"/>
                    <a:pt x="159" y="403"/>
                    <a:pt x="153" y="424"/>
                  </a:cubicBezTo>
                  <a:cubicBezTo>
                    <a:pt x="171" y="429"/>
                    <a:pt x="190" y="432"/>
                    <a:pt x="209" y="432"/>
                  </a:cubicBezTo>
                  <a:cubicBezTo>
                    <a:pt x="246" y="432"/>
                    <a:pt x="283" y="422"/>
                    <a:pt x="317" y="403"/>
                  </a:cubicBezTo>
                  <a:cubicBezTo>
                    <a:pt x="338" y="390"/>
                    <a:pt x="356" y="375"/>
                    <a:pt x="371" y="358"/>
                  </a:cubicBezTo>
                  <a:lnTo>
                    <a:pt x="371" y="73"/>
                  </a:lnTo>
                  <a:cubicBezTo>
                    <a:pt x="330" y="26"/>
                    <a:pt x="270" y="0"/>
                    <a:pt x="209" y="0"/>
                  </a:cubicBezTo>
                </a:path>
              </a:pathLst>
            </a:custGeom>
            <a:solidFill>
              <a:schemeClr val="accent5">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2" name="Freeform 17">
              <a:extLst>
                <a:ext uri="{FF2B5EF4-FFF2-40B4-BE49-F238E27FC236}">
                  <a16:creationId xmlns:a16="http://schemas.microsoft.com/office/drawing/2014/main" id="{B7F0931F-0A5B-ED4A-8350-69717DBA9535}"/>
                </a:ext>
              </a:extLst>
            </p:cNvPr>
            <p:cNvSpPr>
              <a:spLocks noChangeArrowheads="1"/>
            </p:cNvSpPr>
            <p:nvPr/>
          </p:nvSpPr>
          <p:spPr bwMode="auto">
            <a:xfrm>
              <a:off x="1501775" y="536575"/>
              <a:ext cx="531813" cy="255588"/>
            </a:xfrm>
            <a:custGeom>
              <a:avLst/>
              <a:gdLst>
                <a:gd name="T0" fmla="*/ 1417 w 1478"/>
                <a:gd name="T1" fmla="*/ 139 h 711"/>
                <a:gd name="T2" fmla="*/ 1122 w 1478"/>
                <a:gd name="T3" fmla="*/ 60 h 711"/>
                <a:gd name="T4" fmla="*/ 24 w 1478"/>
                <a:gd name="T5" fmla="*/ 694 h 711"/>
                <a:gd name="T6" fmla="*/ 0 w 1478"/>
                <a:gd name="T7" fmla="*/ 710 h 711"/>
                <a:gd name="T8" fmla="*/ 859 w 1478"/>
                <a:gd name="T9" fmla="*/ 710 h 711"/>
                <a:gd name="T10" fmla="*/ 1338 w 1478"/>
                <a:gd name="T11" fmla="*/ 434 h 711"/>
                <a:gd name="T12" fmla="*/ 1417 w 1478"/>
                <a:gd name="T13" fmla="*/ 139 h 711"/>
              </a:gdLst>
              <a:ahLst/>
              <a:cxnLst>
                <a:cxn ang="0">
                  <a:pos x="T0" y="T1"/>
                </a:cxn>
                <a:cxn ang="0">
                  <a:pos x="T2" y="T3"/>
                </a:cxn>
                <a:cxn ang="0">
                  <a:pos x="T4" y="T5"/>
                </a:cxn>
                <a:cxn ang="0">
                  <a:pos x="T6" y="T7"/>
                </a:cxn>
                <a:cxn ang="0">
                  <a:pos x="T8" y="T9"/>
                </a:cxn>
                <a:cxn ang="0">
                  <a:pos x="T10" y="T11"/>
                </a:cxn>
                <a:cxn ang="0">
                  <a:pos x="T12" y="T13"/>
                </a:cxn>
              </a:cxnLst>
              <a:rect l="0" t="0" r="r" b="b"/>
              <a:pathLst>
                <a:path w="1478" h="711">
                  <a:moveTo>
                    <a:pt x="1417" y="139"/>
                  </a:moveTo>
                  <a:cubicBezTo>
                    <a:pt x="1358" y="35"/>
                    <a:pt x="1226" y="0"/>
                    <a:pt x="1122" y="60"/>
                  </a:cubicBezTo>
                  <a:lnTo>
                    <a:pt x="24" y="694"/>
                  </a:lnTo>
                  <a:cubicBezTo>
                    <a:pt x="15" y="699"/>
                    <a:pt x="7" y="704"/>
                    <a:pt x="0" y="710"/>
                  </a:cubicBezTo>
                  <a:lnTo>
                    <a:pt x="859" y="710"/>
                  </a:lnTo>
                  <a:lnTo>
                    <a:pt x="1338" y="434"/>
                  </a:lnTo>
                  <a:cubicBezTo>
                    <a:pt x="1442" y="374"/>
                    <a:pt x="1477" y="242"/>
                    <a:pt x="1417" y="139"/>
                  </a:cubicBezTo>
                </a:path>
              </a:pathLst>
            </a:custGeom>
            <a:solidFill>
              <a:srgbClr val="FFC43D"/>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18">
              <a:extLst>
                <a:ext uri="{FF2B5EF4-FFF2-40B4-BE49-F238E27FC236}">
                  <a16:creationId xmlns:a16="http://schemas.microsoft.com/office/drawing/2014/main" id="{85DE5EDF-719B-FD41-83C2-D2F83C69B427}"/>
                </a:ext>
              </a:extLst>
            </p:cNvPr>
            <p:cNvSpPr>
              <a:spLocks noChangeArrowheads="1"/>
            </p:cNvSpPr>
            <p:nvPr/>
          </p:nvSpPr>
          <p:spPr bwMode="auto">
            <a:xfrm>
              <a:off x="1785938" y="212725"/>
              <a:ext cx="368300" cy="160338"/>
            </a:xfrm>
            <a:custGeom>
              <a:avLst/>
              <a:gdLst>
                <a:gd name="T0" fmla="*/ 60 w 1023"/>
                <a:gd name="T1" fmla="*/ 306 h 446"/>
                <a:gd name="T2" fmla="*/ 355 w 1023"/>
                <a:gd name="T3" fmla="*/ 386 h 446"/>
                <a:gd name="T4" fmla="*/ 1022 w 1023"/>
                <a:gd name="T5" fmla="*/ 0 h 446"/>
                <a:gd name="T6" fmla="*/ 159 w 1023"/>
                <a:gd name="T7" fmla="*/ 0 h 446"/>
                <a:gd name="T8" fmla="*/ 139 w 1023"/>
                <a:gd name="T9" fmla="*/ 11 h 446"/>
                <a:gd name="T10" fmla="*/ 60 w 1023"/>
                <a:gd name="T11" fmla="*/ 306 h 446"/>
              </a:gdLst>
              <a:ahLst/>
              <a:cxnLst>
                <a:cxn ang="0">
                  <a:pos x="T0" y="T1"/>
                </a:cxn>
                <a:cxn ang="0">
                  <a:pos x="T2" y="T3"/>
                </a:cxn>
                <a:cxn ang="0">
                  <a:pos x="T4" y="T5"/>
                </a:cxn>
                <a:cxn ang="0">
                  <a:pos x="T6" y="T7"/>
                </a:cxn>
                <a:cxn ang="0">
                  <a:pos x="T8" y="T9"/>
                </a:cxn>
                <a:cxn ang="0">
                  <a:pos x="T10" y="T11"/>
                </a:cxn>
              </a:cxnLst>
              <a:rect l="0" t="0" r="r" b="b"/>
              <a:pathLst>
                <a:path w="1023" h="446">
                  <a:moveTo>
                    <a:pt x="60" y="306"/>
                  </a:moveTo>
                  <a:cubicBezTo>
                    <a:pt x="120" y="410"/>
                    <a:pt x="252" y="445"/>
                    <a:pt x="355" y="386"/>
                  </a:cubicBezTo>
                  <a:lnTo>
                    <a:pt x="1022" y="0"/>
                  </a:lnTo>
                  <a:lnTo>
                    <a:pt x="159" y="0"/>
                  </a:lnTo>
                  <a:lnTo>
                    <a:pt x="139" y="11"/>
                  </a:lnTo>
                  <a:cubicBezTo>
                    <a:pt x="36" y="71"/>
                    <a:pt x="0" y="203"/>
                    <a:pt x="60" y="306"/>
                  </a:cubicBezTo>
                </a:path>
              </a:pathLst>
            </a:custGeom>
            <a:solidFill>
              <a:srgbClr val="50009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4" name="Freeform 19">
              <a:extLst>
                <a:ext uri="{FF2B5EF4-FFF2-40B4-BE49-F238E27FC236}">
                  <a16:creationId xmlns:a16="http://schemas.microsoft.com/office/drawing/2014/main" id="{244A6565-FDE5-9D46-8989-AA4FD69BF12A}"/>
                </a:ext>
              </a:extLst>
            </p:cNvPr>
            <p:cNvSpPr>
              <a:spLocks noChangeArrowheads="1"/>
            </p:cNvSpPr>
            <p:nvPr/>
          </p:nvSpPr>
          <p:spPr bwMode="auto">
            <a:xfrm>
              <a:off x="2048630" y="433804"/>
              <a:ext cx="163512" cy="169863"/>
            </a:xfrm>
            <a:custGeom>
              <a:avLst/>
              <a:gdLst>
                <a:gd name="T0" fmla="*/ 324 w 456"/>
                <a:gd name="T1" fmla="*/ 179 h 471"/>
                <a:gd name="T2" fmla="*/ 302 w 456"/>
                <a:gd name="T3" fmla="*/ 15 h 471"/>
                <a:gd name="T4" fmla="*/ 138 w 456"/>
                <a:gd name="T5" fmla="*/ 36 h 471"/>
                <a:gd name="T6" fmla="*/ 59 w 456"/>
                <a:gd name="T7" fmla="*/ 331 h 471"/>
                <a:gd name="T8" fmla="*/ 354 w 456"/>
                <a:gd name="T9" fmla="*/ 410 h 471"/>
                <a:gd name="T10" fmla="*/ 455 w 456"/>
                <a:gd name="T11" fmla="*/ 279 h 471"/>
                <a:gd name="T12" fmla="*/ 324 w 456"/>
                <a:gd name="T13" fmla="*/ 179 h 471"/>
              </a:gdLst>
              <a:ahLst/>
              <a:cxnLst>
                <a:cxn ang="0">
                  <a:pos x="T0" y="T1"/>
                </a:cxn>
                <a:cxn ang="0">
                  <a:pos x="T2" y="T3"/>
                </a:cxn>
                <a:cxn ang="0">
                  <a:pos x="T4" y="T5"/>
                </a:cxn>
                <a:cxn ang="0">
                  <a:pos x="T6" y="T7"/>
                </a:cxn>
                <a:cxn ang="0">
                  <a:pos x="T8" y="T9"/>
                </a:cxn>
                <a:cxn ang="0">
                  <a:pos x="T10" y="T11"/>
                </a:cxn>
                <a:cxn ang="0">
                  <a:pos x="T12" y="T13"/>
                </a:cxn>
              </a:cxnLst>
              <a:rect l="0" t="0" r="r" b="b"/>
              <a:pathLst>
                <a:path w="456" h="471">
                  <a:moveTo>
                    <a:pt x="324" y="179"/>
                  </a:moveTo>
                  <a:cubicBezTo>
                    <a:pt x="294" y="127"/>
                    <a:pt x="288" y="68"/>
                    <a:pt x="302" y="15"/>
                  </a:cubicBezTo>
                  <a:cubicBezTo>
                    <a:pt x="249" y="0"/>
                    <a:pt x="190" y="6"/>
                    <a:pt x="138" y="36"/>
                  </a:cubicBezTo>
                  <a:cubicBezTo>
                    <a:pt x="35" y="96"/>
                    <a:pt x="0" y="228"/>
                    <a:pt x="59" y="331"/>
                  </a:cubicBezTo>
                  <a:cubicBezTo>
                    <a:pt x="119" y="435"/>
                    <a:pt x="251" y="470"/>
                    <a:pt x="354" y="410"/>
                  </a:cubicBezTo>
                  <a:cubicBezTo>
                    <a:pt x="406" y="380"/>
                    <a:pt x="441" y="333"/>
                    <a:pt x="455" y="279"/>
                  </a:cubicBezTo>
                  <a:cubicBezTo>
                    <a:pt x="402" y="265"/>
                    <a:pt x="354" y="230"/>
                    <a:pt x="324" y="179"/>
                  </a:cubicBezTo>
                </a:path>
              </a:pathLst>
            </a:custGeom>
            <a:solidFill>
              <a:srgbClr val="FFC43D">
                <a:alpha val="40000"/>
              </a:srgb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5" name="Freeform 20">
              <a:extLst>
                <a:ext uri="{FF2B5EF4-FFF2-40B4-BE49-F238E27FC236}">
                  <a16:creationId xmlns:a16="http://schemas.microsoft.com/office/drawing/2014/main" id="{141B969F-2250-0A4B-9088-6B485707E3F4}"/>
                </a:ext>
              </a:extLst>
            </p:cNvPr>
            <p:cNvSpPr>
              <a:spLocks noChangeArrowheads="1"/>
            </p:cNvSpPr>
            <p:nvPr/>
          </p:nvSpPr>
          <p:spPr bwMode="auto">
            <a:xfrm>
              <a:off x="2174875" y="449263"/>
              <a:ext cx="38100" cy="61912"/>
            </a:xfrm>
            <a:custGeom>
              <a:avLst/>
              <a:gdLst>
                <a:gd name="T0" fmla="*/ 24 w 107"/>
                <a:gd name="T1" fmla="*/ 104 h 172"/>
                <a:gd name="T2" fmla="*/ 106 w 107"/>
                <a:gd name="T3" fmla="*/ 171 h 172"/>
                <a:gd name="T4" fmla="*/ 77 w 107"/>
                <a:gd name="T5" fmla="*/ 73 h 172"/>
                <a:gd name="T6" fmla="*/ 7 w 107"/>
                <a:gd name="T7" fmla="*/ 0 h 172"/>
                <a:gd name="T8" fmla="*/ 24 w 107"/>
                <a:gd name="T9" fmla="*/ 104 h 172"/>
              </a:gdLst>
              <a:ahLst/>
              <a:cxnLst>
                <a:cxn ang="0">
                  <a:pos x="T0" y="T1"/>
                </a:cxn>
                <a:cxn ang="0">
                  <a:pos x="T2" y="T3"/>
                </a:cxn>
                <a:cxn ang="0">
                  <a:pos x="T4" y="T5"/>
                </a:cxn>
                <a:cxn ang="0">
                  <a:pos x="T6" y="T7"/>
                </a:cxn>
                <a:cxn ang="0">
                  <a:pos x="T8" y="T9"/>
                </a:cxn>
              </a:cxnLst>
              <a:rect l="0" t="0" r="r" b="b"/>
              <a:pathLst>
                <a:path w="107" h="172">
                  <a:moveTo>
                    <a:pt x="24" y="104"/>
                  </a:moveTo>
                  <a:cubicBezTo>
                    <a:pt x="43" y="136"/>
                    <a:pt x="72" y="159"/>
                    <a:pt x="106" y="171"/>
                  </a:cubicBezTo>
                  <a:cubicBezTo>
                    <a:pt x="104" y="138"/>
                    <a:pt x="95" y="104"/>
                    <a:pt x="77" y="73"/>
                  </a:cubicBezTo>
                  <a:cubicBezTo>
                    <a:pt x="60" y="42"/>
                    <a:pt x="35" y="18"/>
                    <a:pt x="7" y="0"/>
                  </a:cubicBezTo>
                  <a:cubicBezTo>
                    <a:pt x="0" y="35"/>
                    <a:pt x="6" y="72"/>
                    <a:pt x="24" y="104"/>
                  </a:cubicBezTo>
                </a:path>
              </a:pathLst>
            </a:custGeom>
            <a:solidFill>
              <a:srgbClr val="FFC43D">
                <a:alpha val="40000"/>
              </a:srgb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6" name="Freeform 21">
              <a:extLst>
                <a:ext uri="{FF2B5EF4-FFF2-40B4-BE49-F238E27FC236}">
                  <a16:creationId xmlns:a16="http://schemas.microsoft.com/office/drawing/2014/main" id="{F4BF85AE-0E26-E34B-8A4C-68ECBBC9CA77}"/>
                </a:ext>
              </a:extLst>
            </p:cNvPr>
            <p:cNvSpPr>
              <a:spLocks noChangeArrowheads="1"/>
            </p:cNvSpPr>
            <p:nvPr/>
          </p:nvSpPr>
          <p:spPr bwMode="auto">
            <a:xfrm>
              <a:off x="2151063" y="439738"/>
              <a:ext cx="63500" cy="95250"/>
            </a:xfrm>
            <a:custGeom>
              <a:avLst/>
              <a:gdLst>
                <a:gd name="T0" fmla="*/ 174 w 176"/>
                <a:gd name="T1" fmla="*/ 198 h 265"/>
                <a:gd name="T2" fmla="*/ 92 w 176"/>
                <a:gd name="T3" fmla="*/ 131 h 265"/>
                <a:gd name="T4" fmla="*/ 75 w 176"/>
                <a:gd name="T5" fmla="*/ 27 h 265"/>
                <a:gd name="T6" fmla="*/ 14 w 176"/>
                <a:gd name="T7" fmla="*/ 0 h 265"/>
                <a:gd name="T8" fmla="*/ 36 w 176"/>
                <a:gd name="T9" fmla="*/ 164 h 265"/>
                <a:gd name="T10" fmla="*/ 167 w 176"/>
                <a:gd name="T11" fmla="*/ 264 h 265"/>
                <a:gd name="T12" fmla="*/ 174 w 176"/>
                <a:gd name="T13" fmla="*/ 198 h 265"/>
              </a:gdLst>
              <a:ahLst/>
              <a:cxnLst>
                <a:cxn ang="0">
                  <a:pos x="T0" y="T1"/>
                </a:cxn>
                <a:cxn ang="0">
                  <a:pos x="T2" y="T3"/>
                </a:cxn>
                <a:cxn ang="0">
                  <a:pos x="T4" y="T5"/>
                </a:cxn>
                <a:cxn ang="0">
                  <a:pos x="T6" y="T7"/>
                </a:cxn>
                <a:cxn ang="0">
                  <a:pos x="T8" y="T9"/>
                </a:cxn>
                <a:cxn ang="0">
                  <a:pos x="T10" y="T11"/>
                </a:cxn>
                <a:cxn ang="0">
                  <a:pos x="T12" y="T13"/>
                </a:cxn>
              </a:cxnLst>
              <a:rect l="0" t="0" r="r" b="b"/>
              <a:pathLst>
                <a:path w="176" h="265">
                  <a:moveTo>
                    <a:pt x="174" y="198"/>
                  </a:moveTo>
                  <a:cubicBezTo>
                    <a:pt x="140" y="186"/>
                    <a:pt x="111" y="163"/>
                    <a:pt x="92" y="131"/>
                  </a:cubicBezTo>
                  <a:cubicBezTo>
                    <a:pt x="74" y="99"/>
                    <a:pt x="68" y="62"/>
                    <a:pt x="75" y="27"/>
                  </a:cubicBezTo>
                  <a:cubicBezTo>
                    <a:pt x="56" y="15"/>
                    <a:pt x="36" y="5"/>
                    <a:pt x="14" y="0"/>
                  </a:cubicBezTo>
                  <a:cubicBezTo>
                    <a:pt x="0" y="53"/>
                    <a:pt x="6" y="112"/>
                    <a:pt x="36" y="164"/>
                  </a:cubicBezTo>
                  <a:cubicBezTo>
                    <a:pt x="66" y="215"/>
                    <a:pt x="114" y="250"/>
                    <a:pt x="167" y="264"/>
                  </a:cubicBezTo>
                  <a:cubicBezTo>
                    <a:pt x="173" y="243"/>
                    <a:pt x="175" y="220"/>
                    <a:pt x="174" y="198"/>
                  </a:cubicBezTo>
                </a:path>
              </a:pathLst>
            </a:custGeom>
            <a:solidFill>
              <a:srgbClr val="FFC43D">
                <a:alpha val="70000"/>
              </a:srgb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grpSp>
        <p:nvGrpSpPr>
          <p:cNvPr id="22" name="Group 21">
            <a:extLst>
              <a:ext uri="{FF2B5EF4-FFF2-40B4-BE49-F238E27FC236}">
                <a16:creationId xmlns:a16="http://schemas.microsoft.com/office/drawing/2014/main" id="{08A38ED1-5E23-2E44-BACB-D34BFB5EFFF7}"/>
              </a:ext>
            </a:extLst>
          </p:cNvPr>
          <p:cNvGrpSpPr/>
          <p:nvPr userDrawn="1"/>
        </p:nvGrpSpPr>
        <p:grpSpPr>
          <a:xfrm>
            <a:off x="471600" y="443753"/>
            <a:ext cx="1412891" cy="552898"/>
            <a:chOff x="3562350" y="3567113"/>
            <a:chExt cx="3476625" cy="1360487"/>
          </a:xfrm>
          <a:solidFill>
            <a:schemeClr val="accent1"/>
          </a:solidFill>
        </p:grpSpPr>
        <p:sp>
          <p:nvSpPr>
            <p:cNvPr id="23" name="Freeform 1">
              <a:extLst>
                <a:ext uri="{FF2B5EF4-FFF2-40B4-BE49-F238E27FC236}">
                  <a16:creationId xmlns:a16="http://schemas.microsoft.com/office/drawing/2014/main" id="{5B1D7AF6-90F0-1943-9CEE-34854EEEE555}"/>
                </a:ext>
              </a:extLst>
            </p:cNvPr>
            <p:cNvSpPr>
              <a:spLocks noChangeArrowheads="1"/>
            </p:cNvSpPr>
            <p:nvPr/>
          </p:nvSpPr>
          <p:spPr bwMode="auto">
            <a:xfrm>
              <a:off x="4710113" y="3800475"/>
              <a:ext cx="1136650" cy="1127125"/>
            </a:xfrm>
            <a:custGeom>
              <a:avLst/>
              <a:gdLst>
                <a:gd name="T0" fmla="*/ 10 w 3158"/>
                <a:gd name="T1" fmla="*/ 1539 h 3130"/>
                <a:gd name="T2" fmla="*/ 1599 w 3158"/>
                <a:gd name="T3" fmla="*/ 13 h 3130"/>
                <a:gd name="T4" fmla="*/ 3148 w 3158"/>
                <a:gd name="T5" fmla="*/ 1584 h 3130"/>
                <a:gd name="T6" fmla="*/ 1560 w 3158"/>
                <a:gd name="T7" fmla="*/ 3116 h 3130"/>
                <a:gd name="T8" fmla="*/ 10 w 3158"/>
                <a:gd name="T9" fmla="*/ 1545 h 3130"/>
                <a:gd name="T10" fmla="*/ 10 w 3158"/>
                <a:gd name="T11" fmla="*/ 1539 h 3130"/>
                <a:gd name="T12" fmla="*/ 711 w 3158"/>
                <a:gd name="T13" fmla="*/ 1553 h 3130"/>
                <a:gd name="T14" fmla="*/ 1568 w 3158"/>
                <a:gd name="T15" fmla="*/ 2456 h 3130"/>
                <a:gd name="T16" fmla="*/ 2446 w 3158"/>
                <a:gd name="T17" fmla="*/ 1570 h 3130"/>
                <a:gd name="T18" fmla="*/ 1591 w 3158"/>
                <a:gd name="T19" fmla="*/ 662 h 3130"/>
                <a:gd name="T20" fmla="*/ 712 w 3158"/>
                <a:gd name="T21" fmla="*/ 1548 h 3130"/>
                <a:gd name="T22" fmla="*/ 711 w 3158"/>
                <a:gd name="T23" fmla="*/ 1553 h 3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58" h="3130">
                  <a:moveTo>
                    <a:pt x="10" y="1539"/>
                  </a:moveTo>
                  <a:cubicBezTo>
                    <a:pt x="19" y="790"/>
                    <a:pt x="578" y="0"/>
                    <a:pt x="1599" y="13"/>
                  </a:cubicBezTo>
                  <a:cubicBezTo>
                    <a:pt x="2619" y="26"/>
                    <a:pt x="3157" y="830"/>
                    <a:pt x="3148" y="1584"/>
                  </a:cubicBezTo>
                  <a:cubicBezTo>
                    <a:pt x="3138" y="2341"/>
                    <a:pt x="2579" y="3129"/>
                    <a:pt x="1560" y="3116"/>
                  </a:cubicBezTo>
                  <a:cubicBezTo>
                    <a:pt x="539" y="3104"/>
                    <a:pt x="0" y="2302"/>
                    <a:pt x="10" y="1545"/>
                  </a:cubicBezTo>
                  <a:lnTo>
                    <a:pt x="10" y="1539"/>
                  </a:lnTo>
                  <a:close/>
                  <a:moveTo>
                    <a:pt x="711" y="1553"/>
                  </a:moveTo>
                  <a:cubicBezTo>
                    <a:pt x="705" y="2065"/>
                    <a:pt x="1089" y="2451"/>
                    <a:pt x="1568" y="2456"/>
                  </a:cubicBezTo>
                  <a:cubicBezTo>
                    <a:pt x="2047" y="2462"/>
                    <a:pt x="2440" y="2087"/>
                    <a:pt x="2446" y="1570"/>
                  </a:cubicBezTo>
                  <a:cubicBezTo>
                    <a:pt x="2453" y="1054"/>
                    <a:pt x="2070" y="669"/>
                    <a:pt x="1591" y="662"/>
                  </a:cubicBezTo>
                  <a:cubicBezTo>
                    <a:pt x="1112" y="656"/>
                    <a:pt x="718" y="1032"/>
                    <a:pt x="712" y="1548"/>
                  </a:cubicBezTo>
                  <a:lnTo>
                    <a:pt x="711" y="15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4" name="Freeform 2">
              <a:extLst>
                <a:ext uri="{FF2B5EF4-FFF2-40B4-BE49-F238E27FC236}">
                  <a16:creationId xmlns:a16="http://schemas.microsoft.com/office/drawing/2014/main" id="{C29794B8-4D40-574E-A695-6A87FDFE741E}"/>
                </a:ext>
              </a:extLst>
            </p:cNvPr>
            <p:cNvSpPr>
              <a:spLocks noChangeArrowheads="1"/>
            </p:cNvSpPr>
            <p:nvPr/>
          </p:nvSpPr>
          <p:spPr bwMode="auto">
            <a:xfrm>
              <a:off x="5969000" y="3567113"/>
              <a:ext cx="455613" cy="1338262"/>
            </a:xfrm>
            <a:custGeom>
              <a:avLst/>
              <a:gdLst>
                <a:gd name="T0" fmla="*/ 971 w 1264"/>
                <a:gd name="T1" fmla="*/ 3165 h 3717"/>
                <a:gd name="T2" fmla="*/ 765 w 1264"/>
                <a:gd name="T3" fmla="*/ 2983 h 3717"/>
                <a:gd name="T4" fmla="*/ 803 w 1264"/>
                <a:gd name="T5" fmla="*/ 9 h 3717"/>
                <a:gd name="T6" fmla="*/ 101 w 1264"/>
                <a:gd name="T7" fmla="*/ 0 h 3717"/>
                <a:gd name="T8" fmla="*/ 64 w 1264"/>
                <a:gd name="T9" fmla="*/ 2965 h 3717"/>
                <a:gd name="T10" fmla="*/ 696 w 1264"/>
                <a:gd name="T11" fmla="*/ 3708 h 3717"/>
                <a:gd name="T12" fmla="*/ 696 w 1264"/>
                <a:gd name="T13" fmla="*/ 3709 h 3717"/>
                <a:gd name="T14" fmla="*/ 1256 w 1264"/>
                <a:gd name="T15" fmla="*/ 3716 h 3717"/>
                <a:gd name="T16" fmla="*/ 1263 w 1264"/>
                <a:gd name="T17" fmla="*/ 3168 h 3717"/>
                <a:gd name="T18" fmla="*/ 971 w 1264"/>
                <a:gd name="T19" fmla="*/ 3165 h 3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4" h="3717">
                  <a:moveTo>
                    <a:pt x="971" y="3165"/>
                  </a:moveTo>
                  <a:cubicBezTo>
                    <a:pt x="971" y="3165"/>
                    <a:pt x="768" y="3164"/>
                    <a:pt x="765" y="2983"/>
                  </a:cubicBezTo>
                  <a:lnTo>
                    <a:pt x="803" y="9"/>
                  </a:lnTo>
                  <a:lnTo>
                    <a:pt x="101" y="0"/>
                  </a:lnTo>
                  <a:lnTo>
                    <a:pt x="64" y="2965"/>
                  </a:lnTo>
                  <a:cubicBezTo>
                    <a:pt x="64" y="2965"/>
                    <a:pt x="0" y="3699"/>
                    <a:pt x="696" y="3708"/>
                  </a:cubicBezTo>
                  <a:lnTo>
                    <a:pt x="696" y="3709"/>
                  </a:lnTo>
                  <a:lnTo>
                    <a:pt x="1256" y="3716"/>
                  </a:lnTo>
                  <a:lnTo>
                    <a:pt x="1263" y="3168"/>
                  </a:lnTo>
                  <a:lnTo>
                    <a:pt x="971" y="31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5" name="Freeform 3">
              <a:extLst>
                <a:ext uri="{FF2B5EF4-FFF2-40B4-BE49-F238E27FC236}">
                  <a16:creationId xmlns:a16="http://schemas.microsoft.com/office/drawing/2014/main" id="{972BC649-42DC-494D-844E-F9D939D6A9B7}"/>
                </a:ext>
              </a:extLst>
            </p:cNvPr>
            <p:cNvSpPr>
              <a:spLocks noChangeArrowheads="1"/>
            </p:cNvSpPr>
            <p:nvPr/>
          </p:nvSpPr>
          <p:spPr bwMode="auto">
            <a:xfrm>
              <a:off x="3562350" y="3786188"/>
              <a:ext cx="1069975" cy="1127125"/>
            </a:xfrm>
            <a:custGeom>
              <a:avLst/>
              <a:gdLst>
                <a:gd name="T0" fmla="*/ 2366 w 2971"/>
                <a:gd name="T1" fmla="*/ 1976 h 3132"/>
                <a:gd name="T2" fmla="*/ 1569 w 2971"/>
                <a:gd name="T3" fmla="*/ 2468 h 3132"/>
                <a:gd name="T4" fmla="*/ 716 w 2971"/>
                <a:gd name="T5" fmla="*/ 1556 h 3132"/>
                <a:gd name="T6" fmla="*/ 966 w 2971"/>
                <a:gd name="T7" fmla="*/ 910 h 3132"/>
                <a:gd name="T8" fmla="*/ 1593 w 2971"/>
                <a:gd name="T9" fmla="*/ 667 h 3132"/>
                <a:gd name="T10" fmla="*/ 2376 w 2971"/>
                <a:gd name="T11" fmla="*/ 1201 h 3132"/>
                <a:gd name="T12" fmla="*/ 2970 w 2971"/>
                <a:gd name="T13" fmla="*/ 871 h 3132"/>
                <a:gd name="T14" fmla="*/ 1576 w 2971"/>
                <a:gd name="T15" fmla="*/ 12 h 3132"/>
                <a:gd name="T16" fmla="*/ 11 w 2971"/>
                <a:gd name="T17" fmla="*/ 1545 h 3132"/>
                <a:gd name="T18" fmla="*/ 1559 w 2971"/>
                <a:gd name="T19" fmla="*/ 3123 h 3132"/>
                <a:gd name="T20" fmla="*/ 2950 w 2971"/>
                <a:gd name="T21" fmla="*/ 2314 h 3132"/>
                <a:gd name="T22" fmla="*/ 2379 w 2971"/>
                <a:gd name="T23" fmla="*/ 1977 h 3132"/>
                <a:gd name="T24" fmla="*/ 2366 w 2971"/>
                <a:gd name="T25" fmla="*/ 1976 h 3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1" h="3132">
                  <a:moveTo>
                    <a:pt x="2366" y="1976"/>
                  </a:moveTo>
                  <a:cubicBezTo>
                    <a:pt x="2256" y="2216"/>
                    <a:pt x="2006" y="2472"/>
                    <a:pt x="1569" y="2468"/>
                  </a:cubicBezTo>
                  <a:cubicBezTo>
                    <a:pt x="1072" y="2462"/>
                    <a:pt x="710" y="2081"/>
                    <a:pt x="716" y="1556"/>
                  </a:cubicBezTo>
                  <a:cubicBezTo>
                    <a:pt x="720" y="1300"/>
                    <a:pt x="815" y="1064"/>
                    <a:pt x="966" y="910"/>
                  </a:cubicBezTo>
                  <a:cubicBezTo>
                    <a:pt x="1138" y="742"/>
                    <a:pt x="1337" y="657"/>
                    <a:pt x="1593" y="667"/>
                  </a:cubicBezTo>
                  <a:cubicBezTo>
                    <a:pt x="1976" y="670"/>
                    <a:pt x="2254" y="891"/>
                    <a:pt x="2376" y="1201"/>
                  </a:cubicBezTo>
                  <a:lnTo>
                    <a:pt x="2970" y="871"/>
                  </a:lnTo>
                  <a:cubicBezTo>
                    <a:pt x="2716" y="350"/>
                    <a:pt x="2184" y="19"/>
                    <a:pt x="1576" y="12"/>
                  </a:cubicBezTo>
                  <a:cubicBezTo>
                    <a:pt x="696" y="0"/>
                    <a:pt x="22" y="683"/>
                    <a:pt x="11" y="1545"/>
                  </a:cubicBezTo>
                  <a:cubicBezTo>
                    <a:pt x="0" y="2384"/>
                    <a:pt x="634" y="3111"/>
                    <a:pt x="1559" y="3123"/>
                  </a:cubicBezTo>
                  <a:cubicBezTo>
                    <a:pt x="2184" y="3131"/>
                    <a:pt x="2691" y="2793"/>
                    <a:pt x="2950" y="2314"/>
                  </a:cubicBezTo>
                  <a:lnTo>
                    <a:pt x="2379" y="1977"/>
                  </a:lnTo>
                  <a:lnTo>
                    <a:pt x="2366" y="19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6" name="Freeform 4">
              <a:extLst>
                <a:ext uri="{FF2B5EF4-FFF2-40B4-BE49-F238E27FC236}">
                  <a16:creationId xmlns:a16="http://schemas.microsoft.com/office/drawing/2014/main" id="{752B2F2B-FE45-F442-9A24-4ECD47F3EF34}"/>
                </a:ext>
              </a:extLst>
            </p:cNvPr>
            <p:cNvSpPr>
              <a:spLocks noChangeArrowheads="1"/>
            </p:cNvSpPr>
            <p:nvPr/>
          </p:nvSpPr>
          <p:spPr bwMode="auto">
            <a:xfrm>
              <a:off x="6546850" y="3575050"/>
              <a:ext cx="492125" cy="1338263"/>
            </a:xfrm>
            <a:custGeom>
              <a:avLst/>
              <a:gdLst>
                <a:gd name="T0" fmla="*/ 960 w 1365"/>
                <a:gd name="T1" fmla="*/ 3164 h 3718"/>
                <a:gd name="T2" fmla="*/ 753 w 1365"/>
                <a:gd name="T3" fmla="*/ 2983 h 3718"/>
                <a:gd name="T4" fmla="*/ 773 w 1365"/>
                <a:gd name="T5" fmla="*/ 1401 h 3718"/>
                <a:gd name="T6" fmla="*/ 1336 w 1365"/>
                <a:gd name="T7" fmla="*/ 1408 h 3718"/>
                <a:gd name="T8" fmla="*/ 1343 w 1365"/>
                <a:gd name="T9" fmla="*/ 860 h 3718"/>
                <a:gd name="T10" fmla="*/ 780 w 1365"/>
                <a:gd name="T11" fmla="*/ 853 h 3718"/>
                <a:gd name="T12" fmla="*/ 791 w 1365"/>
                <a:gd name="T13" fmla="*/ 9 h 3718"/>
                <a:gd name="T14" fmla="*/ 89 w 1365"/>
                <a:gd name="T15" fmla="*/ 0 h 3718"/>
                <a:gd name="T16" fmla="*/ 51 w 1365"/>
                <a:gd name="T17" fmla="*/ 2965 h 3718"/>
                <a:gd name="T18" fmla="*/ 683 w 1365"/>
                <a:gd name="T19" fmla="*/ 3708 h 3718"/>
                <a:gd name="T20" fmla="*/ 684 w 1365"/>
                <a:gd name="T21" fmla="*/ 3708 h 3718"/>
                <a:gd name="T22" fmla="*/ 1357 w 1365"/>
                <a:gd name="T23" fmla="*/ 3717 h 3718"/>
                <a:gd name="T24" fmla="*/ 1364 w 1365"/>
                <a:gd name="T25" fmla="*/ 3169 h 3718"/>
                <a:gd name="T26" fmla="*/ 960 w 1365"/>
                <a:gd name="T27" fmla="*/ 3164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5" h="3718">
                  <a:moveTo>
                    <a:pt x="960" y="3164"/>
                  </a:moveTo>
                  <a:cubicBezTo>
                    <a:pt x="960" y="3164"/>
                    <a:pt x="756" y="3164"/>
                    <a:pt x="753" y="2983"/>
                  </a:cubicBezTo>
                  <a:lnTo>
                    <a:pt x="773" y="1401"/>
                  </a:lnTo>
                  <a:lnTo>
                    <a:pt x="1336" y="1408"/>
                  </a:lnTo>
                  <a:lnTo>
                    <a:pt x="1343" y="860"/>
                  </a:lnTo>
                  <a:lnTo>
                    <a:pt x="780" y="853"/>
                  </a:lnTo>
                  <a:lnTo>
                    <a:pt x="791" y="9"/>
                  </a:lnTo>
                  <a:lnTo>
                    <a:pt x="89" y="0"/>
                  </a:lnTo>
                  <a:lnTo>
                    <a:pt x="51" y="2965"/>
                  </a:lnTo>
                  <a:cubicBezTo>
                    <a:pt x="51" y="2965"/>
                    <a:pt x="0" y="3701"/>
                    <a:pt x="683" y="3708"/>
                  </a:cubicBezTo>
                  <a:lnTo>
                    <a:pt x="684" y="3708"/>
                  </a:lnTo>
                  <a:lnTo>
                    <a:pt x="1357" y="3717"/>
                  </a:lnTo>
                  <a:lnTo>
                    <a:pt x="1364" y="3169"/>
                  </a:lnTo>
                  <a:lnTo>
                    <a:pt x="960" y="31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30953035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 preserve="1">
  <p:cSld name="Title Slide v2">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875600" y="2286000"/>
            <a:ext cx="7970400" cy="1884008"/>
          </a:xfrm>
        </p:spPr>
        <p:txBody>
          <a:bodyPr/>
          <a:lstStyle>
            <a:lvl1pPr algn="l">
              <a:lnSpc>
                <a:spcPts val="6630"/>
              </a:lnSpc>
              <a:defRPr sz="6630"/>
            </a:lvl1pPr>
          </a:lstStyle>
          <a:p>
            <a:r>
              <a:rPr lang="en-GB" dirty="0"/>
              <a:t>Title Slide</a:t>
            </a:r>
            <a:endParaRPr lang="en-GB" noProof="0" dirty="0"/>
          </a:p>
        </p:txBody>
      </p:sp>
      <p:sp>
        <p:nvSpPr>
          <p:cNvPr id="3" name="Subtitle 2"/>
          <p:cNvSpPr>
            <a:spLocks noGrp="1"/>
          </p:cNvSpPr>
          <p:nvPr>
            <p:ph type="subTitle" idx="1"/>
          </p:nvPr>
        </p:nvSpPr>
        <p:spPr>
          <a:xfrm>
            <a:off x="1875600" y="4170008"/>
            <a:ext cx="7970400" cy="226795"/>
          </a:xfrm>
        </p:spPr>
        <p:txBody>
          <a:bodyPr/>
          <a:lstStyle>
            <a:lvl1pPr marL="0" indent="0" algn="l">
              <a:lnSpc>
                <a:spcPts val="1590"/>
              </a:lnSpc>
              <a:spcAft>
                <a:spcPts val="0"/>
              </a:spcAft>
              <a:buNone/>
              <a:defRPr sz="141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sp>
        <p:nvSpPr>
          <p:cNvPr id="4" name="Date Placeholder 3"/>
          <p:cNvSpPr>
            <a:spLocks noGrp="1"/>
          </p:cNvSpPr>
          <p:nvPr>
            <p:ph type="dt" sz="half" idx="10"/>
          </p:nvPr>
        </p:nvSpPr>
        <p:spPr>
          <a:xfrm>
            <a:off x="1875600" y="4414345"/>
            <a:ext cx="3996000" cy="288000"/>
          </a:xfrm>
        </p:spPr>
        <p:txBody>
          <a:bodyPr anchor="t" anchorCtr="0"/>
          <a:lstStyle>
            <a:lvl1pPr>
              <a:lnSpc>
                <a:spcPts val="1590"/>
              </a:lnSpc>
              <a:defRPr sz="1410">
                <a:solidFill>
                  <a:schemeClr val="accent2"/>
                </a:solidFill>
              </a:defRPr>
            </a:lvl1pPr>
          </a:lstStyle>
          <a:p>
            <a:pPr>
              <a:lnSpc>
                <a:spcPts val="1590"/>
              </a:lnSpc>
            </a:pPr>
            <a:fld id="{52AD50DE-A8B8-4A8D-A6D4-051AF78564A3}" type="datetime3">
              <a:rPr lang="en-US" smtClean="0"/>
              <a:t>22 December 2023</a:t>
            </a:fld>
            <a:endParaRPr lang="en-GB" dirty="0"/>
          </a:p>
        </p:txBody>
      </p:sp>
      <p:grpSp>
        <p:nvGrpSpPr>
          <p:cNvPr id="6" name="Group 5">
            <a:extLst>
              <a:ext uri="{FF2B5EF4-FFF2-40B4-BE49-F238E27FC236}">
                <a16:creationId xmlns:a16="http://schemas.microsoft.com/office/drawing/2014/main" id="{3007F1E0-33A3-074D-AB4B-BD0C8C87C1EA}"/>
              </a:ext>
            </a:extLst>
          </p:cNvPr>
          <p:cNvGrpSpPr/>
          <p:nvPr userDrawn="1"/>
        </p:nvGrpSpPr>
        <p:grpSpPr>
          <a:xfrm>
            <a:off x="-5779" y="0"/>
            <a:ext cx="12253772" cy="6858001"/>
            <a:chOff x="1258607" y="212725"/>
            <a:chExt cx="1035331" cy="579438"/>
          </a:xfrm>
        </p:grpSpPr>
        <p:sp>
          <p:nvSpPr>
            <p:cNvPr id="7" name="Freeform 15">
              <a:extLst>
                <a:ext uri="{FF2B5EF4-FFF2-40B4-BE49-F238E27FC236}">
                  <a16:creationId xmlns:a16="http://schemas.microsoft.com/office/drawing/2014/main" id="{F851A7CF-5785-C643-9F0C-D66CA43A26B3}"/>
                </a:ext>
              </a:extLst>
            </p:cNvPr>
            <p:cNvSpPr>
              <a:spLocks noChangeArrowheads="1"/>
            </p:cNvSpPr>
            <p:nvPr/>
          </p:nvSpPr>
          <p:spPr bwMode="auto">
            <a:xfrm>
              <a:off x="1258607" y="536575"/>
              <a:ext cx="131763" cy="155575"/>
            </a:xfrm>
            <a:custGeom>
              <a:avLst/>
              <a:gdLst>
                <a:gd name="T0" fmla="*/ 228 w 368"/>
                <a:gd name="T1" fmla="*/ 403 h 433"/>
                <a:gd name="T2" fmla="*/ 307 w 368"/>
                <a:gd name="T3" fmla="*/ 108 h 433"/>
                <a:gd name="T4" fmla="*/ 120 w 368"/>
                <a:gd name="T5" fmla="*/ 0 h 433"/>
                <a:gd name="T6" fmla="*/ 12 w 368"/>
                <a:gd name="T7" fmla="*/ 29 h 433"/>
                <a:gd name="T8" fmla="*/ 0 w 368"/>
                <a:gd name="T9" fmla="*/ 36 h 433"/>
                <a:gd name="T10" fmla="*/ 0 w 368"/>
                <a:gd name="T11" fmla="*/ 125 h 433"/>
                <a:gd name="T12" fmla="*/ 45 w 368"/>
                <a:gd name="T13" fmla="*/ 85 h 433"/>
                <a:gd name="T14" fmla="*/ 120 w 368"/>
                <a:gd name="T15" fmla="*/ 65 h 433"/>
                <a:gd name="T16" fmla="*/ 120 w 368"/>
                <a:gd name="T17" fmla="*/ 65 h 433"/>
                <a:gd name="T18" fmla="*/ 251 w 368"/>
                <a:gd name="T19" fmla="*/ 140 h 433"/>
                <a:gd name="T20" fmla="*/ 266 w 368"/>
                <a:gd name="T21" fmla="*/ 255 h 433"/>
                <a:gd name="T22" fmla="*/ 195 w 368"/>
                <a:gd name="T23" fmla="*/ 346 h 433"/>
                <a:gd name="T24" fmla="*/ 120 w 368"/>
                <a:gd name="T25" fmla="*/ 366 h 433"/>
                <a:gd name="T26" fmla="*/ 0 w 368"/>
                <a:gd name="T27" fmla="*/ 307 h 433"/>
                <a:gd name="T28" fmla="*/ 0 w 368"/>
                <a:gd name="T29" fmla="*/ 395 h 433"/>
                <a:gd name="T30" fmla="*/ 120 w 368"/>
                <a:gd name="T31" fmla="*/ 432 h 433"/>
                <a:gd name="T32" fmla="*/ 228 w 368"/>
                <a:gd name="T33" fmla="*/ 403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8" h="433">
                  <a:moveTo>
                    <a:pt x="228" y="403"/>
                  </a:moveTo>
                  <a:cubicBezTo>
                    <a:pt x="331" y="343"/>
                    <a:pt x="367" y="211"/>
                    <a:pt x="307" y="108"/>
                  </a:cubicBezTo>
                  <a:cubicBezTo>
                    <a:pt x="267" y="38"/>
                    <a:pt x="195" y="0"/>
                    <a:pt x="120" y="0"/>
                  </a:cubicBezTo>
                  <a:cubicBezTo>
                    <a:pt x="83" y="0"/>
                    <a:pt x="46" y="9"/>
                    <a:pt x="12" y="29"/>
                  </a:cubicBezTo>
                  <a:cubicBezTo>
                    <a:pt x="8" y="31"/>
                    <a:pt x="4" y="34"/>
                    <a:pt x="0" y="36"/>
                  </a:cubicBezTo>
                  <a:lnTo>
                    <a:pt x="0" y="125"/>
                  </a:lnTo>
                  <a:cubicBezTo>
                    <a:pt x="12" y="109"/>
                    <a:pt x="27" y="96"/>
                    <a:pt x="45" y="85"/>
                  </a:cubicBezTo>
                  <a:cubicBezTo>
                    <a:pt x="68" y="72"/>
                    <a:pt x="94" y="65"/>
                    <a:pt x="120" y="65"/>
                  </a:cubicBezTo>
                  <a:lnTo>
                    <a:pt x="120" y="65"/>
                  </a:lnTo>
                  <a:cubicBezTo>
                    <a:pt x="174" y="65"/>
                    <a:pt x="224" y="94"/>
                    <a:pt x="251" y="140"/>
                  </a:cubicBezTo>
                  <a:cubicBezTo>
                    <a:pt x="271" y="175"/>
                    <a:pt x="276" y="216"/>
                    <a:pt x="266" y="255"/>
                  </a:cubicBezTo>
                  <a:cubicBezTo>
                    <a:pt x="255" y="294"/>
                    <a:pt x="230" y="326"/>
                    <a:pt x="195" y="346"/>
                  </a:cubicBezTo>
                  <a:cubicBezTo>
                    <a:pt x="172" y="359"/>
                    <a:pt x="147" y="366"/>
                    <a:pt x="120" y="366"/>
                  </a:cubicBezTo>
                  <a:cubicBezTo>
                    <a:pt x="73" y="366"/>
                    <a:pt x="28" y="344"/>
                    <a:pt x="0" y="307"/>
                  </a:cubicBezTo>
                  <a:lnTo>
                    <a:pt x="0" y="395"/>
                  </a:lnTo>
                  <a:cubicBezTo>
                    <a:pt x="36" y="419"/>
                    <a:pt x="78" y="432"/>
                    <a:pt x="120" y="432"/>
                  </a:cubicBezTo>
                  <a:cubicBezTo>
                    <a:pt x="157" y="432"/>
                    <a:pt x="194" y="422"/>
                    <a:pt x="228" y="403"/>
                  </a:cubicBezTo>
                </a:path>
              </a:pathLst>
            </a:custGeom>
            <a:solidFill>
              <a:schemeClr val="accent6">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9" name="Freeform 16">
              <a:extLst>
                <a:ext uri="{FF2B5EF4-FFF2-40B4-BE49-F238E27FC236}">
                  <a16:creationId xmlns:a16="http://schemas.microsoft.com/office/drawing/2014/main" id="{2E8E312A-19D6-A740-9974-158C697F404A}"/>
                </a:ext>
              </a:extLst>
            </p:cNvPr>
            <p:cNvSpPr>
              <a:spLocks noChangeArrowheads="1"/>
            </p:cNvSpPr>
            <p:nvPr/>
          </p:nvSpPr>
          <p:spPr bwMode="auto">
            <a:xfrm>
              <a:off x="2155825" y="382588"/>
              <a:ext cx="138113" cy="155575"/>
            </a:xfrm>
            <a:custGeom>
              <a:avLst/>
              <a:gdLst>
                <a:gd name="T0" fmla="*/ 209 w 382"/>
                <a:gd name="T1" fmla="*/ 0 h 433"/>
                <a:gd name="T2" fmla="*/ 101 w 382"/>
                <a:gd name="T3" fmla="*/ 29 h 433"/>
                <a:gd name="T4" fmla="*/ 0 w 382"/>
                <a:gd name="T5" fmla="*/ 160 h 433"/>
                <a:gd name="T6" fmla="*/ 61 w 382"/>
                <a:gd name="T7" fmla="*/ 187 h 433"/>
                <a:gd name="T8" fmla="*/ 63 w 382"/>
                <a:gd name="T9" fmla="*/ 177 h 433"/>
                <a:gd name="T10" fmla="*/ 134 w 382"/>
                <a:gd name="T11" fmla="*/ 85 h 433"/>
                <a:gd name="T12" fmla="*/ 209 w 382"/>
                <a:gd name="T13" fmla="*/ 65 h 433"/>
                <a:gd name="T14" fmla="*/ 209 w 382"/>
                <a:gd name="T15" fmla="*/ 65 h 433"/>
                <a:gd name="T16" fmla="*/ 339 w 382"/>
                <a:gd name="T17" fmla="*/ 140 h 433"/>
                <a:gd name="T18" fmla="*/ 284 w 382"/>
                <a:gd name="T19" fmla="*/ 346 h 433"/>
                <a:gd name="T20" fmla="*/ 209 w 382"/>
                <a:gd name="T21" fmla="*/ 366 h 433"/>
                <a:gd name="T22" fmla="*/ 160 w 382"/>
                <a:gd name="T23" fmla="*/ 358 h 433"/>
                <a:gd name="T24" fmla="*/ 153 w 382"/>
                <a:gd name="T25" fmla="*/ 424 h 433"/>
                <a:gd name="T26" fmla="*/ 209 w 382"/>
                <a:gd name="T27" fmla="*/ 432 h 433"/>
                <a:gd name="T28" fmla="*/ 317 w 382"/>
                <a:gd name="T29" fmla="*/ 403 h 433"/>
                <a:gd name="T30" fmla="*/ 371 w 382"/>
                <a:gd name="T31" fmla="*/ 358 h 433"/>
                <a:gd name="T32" fmla="*/ 371 w 382"/>
                <a:gd name="T33" fmla="*/ 73 h 433"/>
                <a:gd name="T34" fmla="*/ 209 w 382"/>
                <a:gd name="T35" fmla="*/ 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2" h="433">
                  <a:moveTo>
                    <a:pt x="209" y="0"/>
                  </a:moveTo>
                  <a:cubicBezTo>
                    <a:pt x="172" y="0"/>
                    <a:pt x="135" y="9"/>
                    <a:pt x="101" y="29"/>
                  </a:cubicBezTo>
                  <a:cubicBezTo>
                    <a:pt x="49" y="58"/>
                    <a:pt x="15" y="106"/>
                    <a:pt x="0" y="160"/>
                  </a:cubicBezTo>
                  <a:cubicBezTo>
                    <a:pt x="22" y="165"/>
                    <a:pt x="42" y="175"/>
                    <a:pt x="61" y="187"/>
                  </a:cubicBezTo>
                  <a:cubicBezTo>
                    <a:pt x="62" y="183"/>
                    <a:pt x="63" y="180"/>
                    <a:pt x="63" y="177"/>
                  </a:cubicBezTo>
                  <a:cubicBezTo>
                    <a:pt x="74" y="138"/>
                    <a:pt x="99" y="105"/>
                    <a:pt x="134" y="85"/>
                  </a:cubicBezTo>
                  <a:cubicBezTo>
                    <a:pt x="156" y="72"/>
                    <a:pt x="182" y="65"/>
                    <a:pt x="209" y="65"/>
                  </a:cubicBezTo>
                  <a:lnTo>
                    <a:pt x="209" y="65"/>
                  </a:lnTo>
                  <a:cubicBezTo>
                    <a:pt x="262" y="65"/>
                    <a:pt x="312" y="94"/>
                    <a:pt x="339" y="140"/>
                  </a:cubicBezTo>
                  <a:cubicBezTo>
                    <a:pt x="381" y="212"/>
                    <a:pt x="356" y="304"/>
                    <a:pt x="284" y="346"/>
                  </a:cubicBezTo>
                  <a:cubicBezTo>
                    <a:pt x="261" y="359"/>
                    <a:pt x="235" y="366"/>
                    <a:pt x="209" y="366"/>
                  </a:cubicBezTo>
                  <a:cubicBezTo>
                    <a:pt x="192" y="366"/>
                    <a:pt x="176" y="363"/>
                    <a:pt x="160" y="358"/>
                  </a:cubicBezTo>
                  <a:cubicBezTo>
                    <a:pt x="161" y="380"/>
                    <a:pt x="159" y="403"/>
                    <a:pt x="153" y="424"/>
                  </a:cubicBezTo>
                  <a:cubicBezTo>
                    <a:pt x="171" y="429"/>
                    <a:pt x="190" y="432"/>
                    <a:pt x="209" y="432"/>
                  </a:cubicBezTo>
                  <a:cubicBezTo>
                    <a:pt x="246" y="432"/>
                    <a:pt x="283" y="422"/>
                    <a:pt x="317" y="403"/>
                  </a:cubicBezTo>
                  <a:cubicBezTo>
                    <a:pt x="338" y="390"/>
                    <a:pt x="356" y="375"/>
                    <a:pt x="371" y="358"/>
                  </a:cubicBezTo>
                  <a:lnTo>
                    <a:pt x="371" y="73"/>
                  </a:lnTo>
                  <a:cubicBezTo>
                    <a:pt x="330" y="26"/>
                    <a:pt x="270" y="0"/>
                    <a:pt x="209" y="0"/>
                  </a:cubicBezTo>
                </a:path>
              </a:pathLst>
            </a:custGeom>
            <a:solidFill>
              <a:schemeClr val="accent3">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0" name="Freeform 17">
              <a:extLst>
                <a:ext uri="{FF2B5EF4-FFF2-40B4-BE49-F238E27FC236}">
                  <a16:creationId xmlns:a16="http://schemas.microsoft.com/office/drawing/2014/main" id="{25BC41B7-D442-6D40-BA5A-94111E21F498}"/>
                </a:ext>
              </a:extLst>
            </p:cNvPr>
            <p:cNvSpPr>
              <a:spLocks noChangeArrowheads="1"/>
            </p:cNvSpPr>
            <p:nvPr/>
          </p:nvSpPr>
          <p:spPr bwMode="auto">
            <a:xfrm>
              <a:off x="1501775" y="536575"/>
              <a:ext cx="531813" cy="255588"/>
            </a:xfrm>
            <a:custGeom>
              <a:avLst/>
              <a:gdLst>
                <a:gd name="T0" fmla="*/ 1417 w 1478"/>
                <a:gd name="T1" fmla="*/ 139 h 711"/>
                <a:gd name="T2" fmla="*/ 1122 w 1478"/>
                <a:gd name="T3" fmla="*/ 60 h 711"/>
                <a:gd name="T4" fmla="*/ 24 w 1478"/>
                <a:gd name="T5" fmla="*/ 694 h 711"/>
                <a:gd name="T6" fmla="*/ 0 w 1478"/>
                <a:gd name="T7" fmla="*/ 710 h 711"/>
                <a:gd name="T8" fmla="*/ 859 w 1478"/>
                <a:gd name="T9" fmla="*/ 710 h 711"/>
                <a:gd name="T10" fmla="*/ 1338 w 1478"/>
                <a:gd name="T11" fmla="*/ 434 h 711"/>
                <a:gd name="T12" fmla="*/ 1417 w 1478"/>
                <a:gd name="T13" fmla="*/ 139 h 711"/>
              </a:gdLst>
              <a:ahLst/>
              <a:cxnLst>
                <a:cxn ang="0">
                  <a:pos x="T0" y="T1"/>
                </a:cxn>
                <a:cxn ang="0">
                  <a:pos x="T2" y="T3"/>
                </a:cxn>
                <a:cxn ang="0">
                  <a:pos x="T4" y="T5"/>
                </a:cxn>
                <a:cxn ang="0">
                  <a:pos x="T6" y="T7"/>
                </a:cxn>
                <a:cxn ang="0">
                  <a:pos x="T8" y="T9"/>
                </a:cxn>
                <a:cxn ang="0">
                  <a:pos x="T10" y="T11"/>
                </a:cxn>
                <a:cxn ang="0">
                  <a:pos x="T12" y="T13"/>
                </a:cxn>
              </a:cxnLst>
              <a:rect l="0" t="0" r="r" b="b"/>
              <a:pathLst>
                <a:path w="1478" h="711">
                  <a:moveTo>
                    <a:pt x="1417" y="139"/>
                  </a:moveTo>
                  <a:cubicBezTo>
                    <a:pt x="1358" y="35"/>
                    <a:pt x="1226" y="0"/>
                    <a:pt x="1122" y="60"/>
                  </a:cubicBezTo>
                  <a:lnTo>
                    <a:pt x="24" y="694"/>
                  </a:lnTo>
                  <a:cubicBezTo>
                    <a:pt x="15" y="699"/>
                    <a:pt x="7" y="704"/>
                    <a:pt x="0" y="710"/>
                  </a:cubicBezTo>
                  <a:lnTo>
                    <a:pt x="859" y="710"/>
                  </a:lnTo>
                  <a:lnTo>
                    <a:pt x="1338" y="434"/>
                  </a:lnTo>
                  <a:cubicBezTo>
                    <a:pt x="1442" y="374"/>
                    <a:pt x="1477" y="242"/>
                    <a:pt x="1417" y="139"/>
                  </a:cubicBezTo>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1" name="Freeform 18">
              <a:extLst>
                <a:ext uri="{FF2B5EF4-FFF2-40B4-BE49-F238E27FC236}">
                  <a16:creationId xmlns:a16="http://schemas.microsoft.com/office/drawing/2014/main" id="{8F6B2B0F-34D0-AD4D-B2E3-90FB64370AF5}"/>
                </a:ext>
              </a:extLst>
            </p:cNvPr>
            <p:cNvSpPr>
              <a:spLocks noChangeArrowheads="1"/>
            </p:cNvSpPr>
            <p:nvPr/>
          </p:nvSpPr>
          <p:spPr bwMode="auto">
            <a:xfrm>
              <a:off x="1785938" y="212725"/>
              <a:ext cx="368300" cy="160338"/>
            </a:xfrm>
            <a:custGeom>
              <a:avLst/>
              <a:gdLst>
                <a:gd name="T0" fmla="*/ 60 w 1023"/>
                <a:gd name="T1" fmla="*/ 306 h 446"/>
                <a:gd name="T2" fmla="*/ 355 w 1023"/>
                <a:gd name="T3" fmla="*/ 386 h 446"/>
                <a:gd name="T4" fmla="*/ 1022 w 1023"/>
                <a:gd name="T5" fmla="*/ 0 h 446"/>
                <a:gd name="T6" fmla="*/ 159 w 1023"/>
                <a:gd name="T7" fmla="*/ 0 h 446"/>
                <a:gd name="T8" fmla="*/ 139 w 1023"/>
                <a:gd name="T9" fmla="*/ 11 h 446"/>
                <a:gd name="T10" fmla="*/ 60 w 1023"/>
                <a:gd name="T11" fmla="*/ 306 h 446"/>
              </a:gdLst>
              <a:ahLst/>
              <a:cxnLst>
                <a:cxn ang="0">
                  <a:pos x="T0" y="T1"/>
                </a:cxn>
                <a:cxn ang="0">
                  <a:pos x="T2" y="T3"/>
                </a:cxn>
                <a:cxn ang="0">
                  <a:pos x="T4" y="T5"/>
                </a:cxn>
                <a:cxn ang="0">
                  <a:pos x="T6" y="T7"/>
                </a:cxn>
                <a:cxn ang="0">
                  <a:pos x="T8" y="T9"/>
                </a:cxn>
                <a:cxn ang="0">
                  <a:pos x="T10" y="T11"/>
                </a:cxn>
              </a:cxnLst>
              <a:rect l="0" t="0" r="r" b="b"/>
              <a:pathLst>
                <a:path w="1023" h="446">
                  <a:moveTo>
                    <a:pt x="60" y="306"/>
                  </a:moveTo>
                  <a:cubicBezTo>
                    <a:pt x="120" y="410"/>
                    <a:pt x="252" y="445"/>
                    <a:pt x="355" y="386"/>
                  </a:cubicBezTo>
                  <a:lnTo>
                    <a:pt x="1022" y="0"/>
                  </a:lnTo>
                  <a:lnTo>
                    <a:pt x="159" y="0"/>
                  </a:lnTo>
                  <a:lnTo>
                    <a:pt x="139" y="11"/>
                  </a:lnTo>
                  <a:cubicBezTo>
                    <a:pt x="36" y="71"/>
                    <a:pt x="0" y="203"/>
                    <a:pt x="60" y="306"/>
                  </a:cubicBezTo>
                </a:path>
              </a:pathLst>
            </a:custGeom>
            <a:solidFill>
              <a:schemeClr val="accent6"/>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2" name="Freeform 19">
              <a:extLst>
                <a:ext uri="{FF2B5EF4-FFF2-40B4-BE49-F238E27FC236}">
                  <a16:creationId xmlns:a16="http://schemas.microsoft.com/office/drawing/2014/main" id="{8BE64B01-7CF6-7D4C-AD5D-FBCC134C9B26}"/>
                </a:ext>
              </a:extLst>
            </p:cNvPr>
            <p:cNvSpPr>
              <a:spLocks noChangeArrowheads="1"/>
            </p:cNvSpPr>
            <p:nvPr/>
          </p:nvSpPr>
          <p:spPr bwMode="auto">
            <a:xfrm>
              <a:off x="2048630" y="433804"/>
              <a:ext cx="163512" cy="169863"/>
            </a:xfrm>
            <a:custGeom>
              <a:avLst/>
              <a:gdLst>
                <a:gd name="T0" fmla="*/ 324 w 456"/>
                <a:gd name="T1" fmla="*/ 179 h 471"/>
                <a:gd name="T2" fmla="*/ 302 w 456"/>
                <a:gd name="T3" fmla="*/ 15 h 471"/>
                <a:gd name="T4" fmla="*/ 138 w 456"/>
                <a:gd name="T5" fmla="*/ 36 h 471"/>
                <a:gd name="T6" fmla="*/ 59 w 456"/>
                <a:gd name="T7" fmla="*/ 331 h 471"/>
                <a:gd name="T8" fmla="*/ 354 w 456"/>
                <a:gd name="T9" fmla="*/ 410 h 471"/>
                <a:gd name="T10" fmla="*/ 455 w 456"/>
                <a:gd name="T11" fmla="*/ 279 h 471"/>
                <a:gd name="T12" fmla="*/ 324 w 456"/>
                <a:gd name="T13" fmla="*/ 179 h 471"/>
              </a:gdLst>
              <a:ahLst/>
              <a:cxnLst>
                <a:cxn ang="0">
                  <a:pos x="T0" y="T1"/>
                </a:cxn>
                <a:cxn ang="0">
                  <a:pos x="T2" y="T3"/>
                </a:cxn>
                <a:cxn ang="0">
                  <a:pos x="T4" y="T5"/>
                </a:cxn>
                <a:cxn ang="0">
                  <a:pos x="T6" y="T7"/>
                </a:cxn>
                <a:cxn ang="0">
                  <a:pos x="T8" y="T9"/>
                </a:cxn>
                <a:cxn ang="0">
                  <a:pos x="T10" y="T11"/>
                </a:cxn>
                <a:cxn ang="0">
                  <a:pos x="T12" y="T13"/>
                </a:cxn>
              </a:cxnLst>
              <a:rect l="0" t="0" r="r" b="b"/>
              <a:pathLst>
                <a:path w="456" h="471">
                  <a:moveTo>
                    <a:pt x="324" y="179"/>
                  </a:moveTo>
                  <a:cubicBezTo>
                    <a:pt x="294" y="127"/>
                    <a:pt x="288" y="68"/>
                    <a:pt x="302" y="15"/>
                  </a:cubicBezTo>
                  <a:cubicBezTo>
                    <a:pt x="249" y="0"/>
                    <a:pt x="190" y="6"/>
                    <a:pt x="138" y="36"/>
                  </a:cubicBezTo>
                  <a:cubicBezTo>
                    <a:pt x="35" y="96"/>
                    <a:pt x="0" y="228"/>
                    <a:pt x="59" y="331"/>
                  </a:cubicBezTo>
                  <a:cubicBezTo>
                    <a:pt x="119" y="435"/>
                    <a:pt x="251" y="470"/>
                    <a:pt x="354" y="410"/>
                  </a:cubicBezTo>
                  <a:cubicBezTo>
                    <a:pt x="406" y="380"/>
                    <a:pt x="441" y="333"/>
                    <a:pt x="455" y="279"/>
                  </a:cubicBezTo>
                  <a:cubicBezTo>
                    <a:pt x="402" y="265"/>
                    <a:pt x="354" y="230"/>
                    <a:pt x="324" y="179"/>
                  </a:cubicBezTo>
                </a:path>
              </a:pathLst>
            </a:custGeom>
            <a:solidFill>
              <a:schemeClr val="accent3">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20">
              <a:extLst>
                <a:ext uri="{FF2B5EF4-FFF2-40B4-BE49-F238E27FC236}">
                  <a16:creationId xmlns:a16="http://schemas.microsoft.com/office/drawing/2014/main" id="{63411190-BC17-034C-AB04-BE829426E2B9}"/>
                </a:ext>
              </a:extLst>
            </p:cNvPr>
            <p:cNvSpPr>
              <a:spLocks noChangeArrowheads="1"/>
            </p:cNvSpPr>
            <p:nvPr/>
          </p:nvSpPr>
          <p:spPr bwMode="auto">
            <a:xfrm>
              <a:off x="2174875" y="449263"/>
              <a:ext cx="38100" cy="61912"/>
            </a:xfrm>
            <a:custGeom>
              <a:avLst/>
              <a:gdLst>
                <a:gd name="T0" fmla="*/ 24 w 107"/>
                <a:gd name="T1" fmla="*/ 104 h 172"/>
                <a:gd name="T2" fmla="*/ 106 w 107"/>
                <a:gd name="T3" fmla="*/ 171 h 172"/>
                <a:gd name="T4" fmla="*/ 77 w 107"/>
                <a:gd name="T5" fmla="*/ 73 h 172"/>
                <a:gd name="T6" fmla="*/ 7 w 107"/>
                <a:gd name="T7" fmla="*/ 0 h 172"/>
                <a:gd name="T8" fmla="*/ 24 w 107"/>
                <a:gd name="T9" fmla="*/ 104 h 172"/>
              </a:gdLst>
              <a:ahLst/>
              <a:cxnLst>
                <a:cxn ang="0">
                  <a:pos x="T0" y="T1"/>
                </a:cxn>
                <a:cxn ang="0">
                  <a:pos x="T2" y="T3"/>
                </a:cxn>
                <a:cxn ang="0">
                  <a:pos x="T4" y="T5"/>
                </a:cxn>
                <a:cxn ang="0">
                  <a:pos x="T6" y="T7"/>
                </a:cxn>
                <a:cxn ang="0">
                  <a:pos x="T8" y="T9"/>
                </a:cxn>
              </a:cxnLst>
              <a:rect l="0" t="0" r="r" b="b"/>
              <a:pathLst>
                <a:path w="107" h="172">
                  <a:moveTo>
                    <a:pt x="24" y="104"/>
                  </a:moveTo>
                  <a:cubicBezTo>
                    <a:pt x="43" y="136"/>
                    <a:pt x="72" y="159"/>
                    <a:pt x="106" y="171"/>
                  </a:cubicBezTo>
                  <a:cubicBezTo>
                    <a:pt x="104" y="138"/>
                    <a:pt x="95" y="104"/>
                    <a:pt x="77" y="73"/>
                  </a:cubicBezTo>
                  <a:cubicBezTo>
                    <a:pt x="60" y="42"/>
                    <a:pt x="35" y="18"/>
                    <a:pt x="7" y="0"/>
                  </a:cubicBezTo>
                  <a:cubicBezTo>
                    <a:pt x="0" y="35"/>
                    <a:pt x="6" y="72"/>
                    <a:pt x="24" y="104"/>
                  </a:cubicBezTo>
                </a:path>
              </a:pathLst>
            </a:custGeom>
            <a:solidFill>
              <a:schemeClr val="accent3">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4" name="Freeform 21">
              <a:extLst>
                <a:ext uri="{FF2B5EF4-FFF2-40B4-BE49-F238E27FC236}">
                  <a16:creationId xmlns:a16="http://schemas.microsoft.com/office/drawing/2014/main" id="{167EB80B-7966-7D4C-89AC-DC7D05E17074}"/>
                </a:ext>
              </a:extLst>
            </p:cNvPr>
            <p:cNvSpPr>
              <a:spLocks noChangeArrowheads="1"/>
            </p:cNvSpPr>
            <p:nvPr/>
          </p:nvSpPr>
          <p:spPr bwMode="auto">
            <a:xfrm>
              <a:off x="2151063" y="439738"/>
              <a:ext cx="63500" cy="95250"/>
            </a:xfrm>
            <a:custGeom>
              <a:avLst/>
              <a:gdLst>
                <a:gd name="T0" fmla="*/ 174 w 176"/>
                <a:gd name="T1" fmla="*/ 198 h 265"/>
                <a:gd name="T2" fmla="*/ 92 w 176"/>
                <a:gd name="T3" fmla="*/ 131 h 265"/>
                <a:gd name="T4" fmla="*/ 75 w 176"/>
                <a:gd name="T5" fmla="*/ 27 h 265"/>
                <a:gd name="T6" fmla="*/ 14 w 176"/>
                <a:gd name="T7" fmla="*/ 0 h 265"/>
                <a:gd name="T8" fmla="*/ 36 w 176"/>
                <a:gd name="T9" fmla="*/ 164 h 265"/>
                <a:gd name="T10" fmla="*/ 167 w 176"/>
                <a:gd name="T11" fmla="*/ 264 h 265"/>
                <a:gd name="T12" fmla="*/ 174 w 176"/>
                <a:gd name="T13" fmla="*/ 198 h 265"/>
              </a:gdLst>
              <a:ahLst/>
              <a:cxnLst>
                <a:cxn ang="0">
                  <a:pos x="T0" y="T1"/>
                </a:cxn>
                <a:cxn ang="0">
                  <a:pos x="T2" y="T3"/>
                </a:cxn>
                <a:cxn ang="0">
                  <a:pos x="T4" y="T5"/>
                </a:cxn>
                <a:cxn ang="0">
                  <a:pos x="T6" y="T7"/>
                </a:cxn>
                <a:cxn ang="0">
                  <a:pos x="T8" y="T9"/>
                </a:cxn>
                <a:cxn ang="0">
                  <a:pos x="T10" y="T11"/>
                </a:cxn>
                <a:cxn ang="0">
                  <a:pos x="T12" y="T13"/>
                </a:cxn>
              </a:cxnLst>
              <a:rect l="0" t="0" r="r" b="b"/>
              <a:pathLst>
                <a:path w="176" h="265">
                  <a:moveTo>
                    <a:pt x="174" y="198"/>
                  </a:moveTo>
                  <a:cubicBezTo>
                    <a:pt x="140" y="186"/>
                    <a:pt x="111" y="163"/>
                    <a:pt x="92" y="131"/>
                  </a:cubicBezTo>
                  <a:cubicBezTo>
                    <a:pt x="74" y="99"/>
                    <a:pt x="68" y="62"/>
                    <a:pt x="75" y="27"/>
                  </a:cubicBezTo>
                  <a:cubicBezTo>
                    <a:pt x="56" y="15"/>
                    <a:pt x="36" y="5"/>
                    <a:pt x="14" y="0"/>
                  </a:cubicBezTo>
                  <a:cubicBezTo>
                    <a:pt x="0" y="53"/>
                    <a:pt x="6" y="112"/>
                    <a:pt x="36" y="164"/>
                  </a:cubicBezTo>
                  <a:cubicBezTo>
                    <a:pt x="66" y="215"/>
                    <a:pt x="114" y="250"/>
                    <a:pt x="167" y="264"/>
                  </a:cubicBezTo>
                  <a:cubicBezTo>
                    <a:pt x="173" y="243"/>
                    <a:pt x="175" y="220"/>
                    <a:pt x="174" y="198"/>
                  </a:cubicBezTo>
                </a:path>
              </a:pathLst>
            </a:custGeom>
            <a:solidFill>
              <a:schemeClr val="accent3">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grpSp>
        <p:nvGrpSpPr>
          <p:cNvPr id="15" name="Group 14">
            <a:extLst>
              <a:ext uri="{FF2B5EF4-FFF2-40B4-BE49-F238E27FC236}">
                <a16:creationId xmlns:a16="http://schemas.microsoft.com/office/drawing/2014/main" id="{5AC7FB70-B722-694B-8A67-0316CC7B4741}"/>
              </a:ext>
            </a:extLst>
          </p:cNvPr>
          <p:cNvGrpSpPr/>
          <p:nvPr userDrawn="1"/>
        </p:nvGrpSpPr>
        <p:grpSpPr>
          <a:xfrm>
            <a:off x="471600" y="443753"/>
            <a:ext cx="1412891" cy="552898"/>
            <a:chOff x="3562350" y="3567113"/>
            <a:chExt cx="3476625" cy="1360487"/>
          </a:xfrm>
          <a:solidFill>
            <a:schemeClr val="accent1"/>
          </a:solidFill>
        </p:grpSpPr>
        <p:sp>
          <p:nvSpPr>
            <p:cNvPr id="16" name="Freeform 1">
              <a:extLst>
                <a:ext uri="{FF2B5EF4-FFF2-40B4-BE49-F238E27FC236}">
                  <a16:creationId xmlns:a16="http://schemas.microsoft.com/office/drawing/2014/main" id="{EC3EE3B7-0D4E-2340-A413-307936871BF5}"/>
                </a:ext>
              </a:extLst>
            </p:cNvPr>
            <p:cNvSpPr>
              <a:spLocks noChangeArrowheads="1"/>
            </p:cNvSpPr>
            <p:nvPr/>
          </p:nvSpPr>
          <p:spPr bwMode="auto">
            <a:xfrm>
              <a:off x="4710113" y="3800475"/>
              <a:ext cx="1136650" cy="1127125"/>
            </a:xfrm>
            <a:custGeom>
              <a:avLst/>
              <a:gdLst>
                <a:gd name="T0" fmla="*/ 10 w 3158"/>
                <a:gd name="T1" fmla="*/ 1539 h 3130"/>
                <a:gd name="T2" fmla="*/ 1599 w 3158"/>
                <a:gd name="T3" fmla="*/ 13 h 3130"/>
                <a:gd name="T4" fmla="*/ 3148 w 3158"/>
                <a:gd name="T5" fmla="*/ 1584 h 3130"/>
                <a:gd name="T6" fmla="*/ 1560 w 3158"/>
                <a:gd name="T7" fmla="*/ 3116 h 3130"/>
                <a:gd name="T8" fmla="*/ 10 w 3158"/>
                <a:gd name="T9" fmla="*/ 1545 h 3130"/>
                <a:gd name="T10" fmla="*/ 10 w 3158"/>
                <a:gd name="T11" fmla="*/ 1539 h 3130"/>
                <a:gd name="T12" fmla="*/ 711 w 3158"/>
                <a:gd name="T13" fmla="*/ 1553 h 3130"/>
                <a:gd name="T14" fmla="*/ 1568 w 3158"/>
                <a:gd name="T15" fmla="*/ 2456 h 3130"/>
                <a:gd name="T16" fmla="*/ 2446 w 3158"/>
                <a:gd name="T17" fmla="*/ 1570 h 3130"/>
                <a:gd name="T18" fmla="*/ 1591 w 3158"/>
                <a:gd name="T19" fmla="*/ 662 h 3130"/>
                <a:gd name="T20" fmla="*/ 712 w 3158"/>
                <a:gd name="T21" fmla="*/ 1548 h 3130"/>
                <a:gd name="T22" fmla="*/ 711 w 3158"/>
                <a:gd name="T23" fmla="*/ 1553 h 3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58" h="3130">
                  <a:moveTo>
                    <a:pt x="10" y="1539"/>
                  </a:moveTo>
                  <a:cubicBezTo>
                    <a:pt x="19" y="790"/>
                    <a:pt x="578" y="0"/>
                    <a:pt x="1599" y="13"/>
                  </a:cubicBezTo>
                  <a:cubicBezTo>
                    <a:pt x="2619" y="26"/>
                    <a:pt x="3157" y="830"/>
                    <a:pt x="3148" y="1584"/>
                  </a:cubicBezTo>
                  <a:cubicBezTo>
                    <a:pt x="3138" y="2341"/>
                    <a:pt x="2579" y="3129"/>
                    <a:pt x="1560" y="3116"/>
                  </a:cubicBezTo>
                  <a:cubicBezTo>
                    <a:pt x="539" y="3104"/>
                    <a:pt x="0" y="2302"/>
                    <a:pt x="10" y="1545"/>
                  </a:cubicBezTo>
                  <a:lnTo>
                    <a:pt x="10" y="1539"/>
                  </a:lnTo>
                  <a:close/>
                  <a:moveTo>
                    <a:pt x="711" y="1553"/>
                  </a:moveTo>
                  <a:cubicBezTo>
                    <a:pt x="705" y="2065"/>
                    <a:pt x="1089" y="2451"/>
                    <a:pt x="1568" y="2456"/>
                  </a:cubicBezTo>
                  <a:cubicBezTo>
                    <a:pt x="2047" y="2462"/>
                    <a:pt x="2440" y="2087"/>
                    <a:pt x="2446" y="1570"/>
                  </a:cubicBezTo>
                  <a:cubicBezTo>
                    <a:pt x="2453" y="1054"/>
                    <a:pt x="2070" y="669"/>
                    <a:pt x="1591" y="662"/>
                  </a:cubicBezTo>
                  <a:cubicBezTo>
                    <a:pt x="1112" y="656"/>
                    <a:pt x="718" y="1032"/>
                    <a:pt x="712" y="1548"/>
                  </a:cubicBezTo>
                  <a:lnTo>
                    <a:pt x="711" y="15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7" name="Freeform 2">
              <a:extLst>
                <a:ext uri="{FF2B5EF4-FFF2-40B4-BE49-F238E27FC236}">
                  <a16:creationId xmlns:a16="http://schemas.microsoft.com/office/drawing/2014/main" id="{872069A5-5AE5-6C49-A162-629EE10B1DBC}"/>
                </a:ext>
              </a:extLst>
            </p:cNvPr>
            <p:cNvSpPr>
              <a:spLocks noChangeArrowheads="1"/>
            </p:cNvSpPr>
            <p:nvPr/>
          </p:nvSpPr>
          <p:spPr bwMode="auto">
            <a:xfrm>
              <a:off x="5969000" y="3567113"/>
              <a:ext cx="455613" cy="1338262"/>
            </a:xfrm>
            <a:custGeom>
              <a:avLst/>
              <a:gdLst>
                <a:gd name="T0" fmla="*/ 971 w 1264"/>
                <a:gd name="T1" fmla="*/ 3165 h 3717"/>
                <a:gd name="T2" fmla="*/ 765 w 1264"/>
                <a:gd name="T3" fmla="*/ 2983 h 3717"/>
                <a:gd name="T4" fmla="*/ 803 w 1264"/>
                <a:gd name="T5" fmla="*/ 9 h 3717"/>
                <a:gd name="T6" fmla="*/ 101 w 1264"/>
                <a:gd name="T7" fmla="*/ 0 h 3717"/>
                <a:gd name="T8" fmla="*/ 64 w 1264"/>
                <a:gd name="T9" fmla="*/ 2965 h 3717"/>
                <a:gd name="T10" fmla="*/ 696 w 1264"/>
                <a:gd name="T11" fmla="*/ 3708 h 3717"/>
                <a:gd name="T12" fmla="*/ 696 w 1264"/>
                <a:gd name="T13" fmla="*/ 3709 h 3717"/>
                <a:gd name="T14" fmla="*/ 1256 w 1264"/>
                <a:gd name="T15" fmla="*/ 3716 h 3717"/>
                <a:gd name="T16" fmla="*/ 1263 w 1264"/>
                <a:gd name="T17" fmla="*/ 3168 h 3717"/>
                <a:gd name="T18" fmla="*/ 971 w 1264"/>
                <a:gd name="T19" fmla="*/ 3165 h 3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4" h="3717">
                  <a:moveTo>
                    <a:pt x="971" y="3165"/>
                  </a:moveTo>
                  <a:cubicBezTo>
                    <a:pt x="971" y="3165"/>
                    <a:pt x="768" y="3164"/>
                    <a:pt x="765" y="2983"/>
                  </a:cubicBezTo>
                  <a:lnTo>
                    <a:pt x="803" y="9"/>
                  </a:lnTo>
                  <a:lnTo>
                    <a:pt x="101" y="0"/>
                  </a:lnTo>
                  <a:lnTo>
                    <a:pt x="64" y="2965"/>
                  </a:lnTo>
                  <a:cubicBezTo>
                    <a:pt x="64" y="2965"/>
                    <a:pt x="0" y="3699"/>
                    <a:pt x="696" y="3708"/>
                  </a:cubicBezTo>
                  <a:lnTo>
                    <a:pt x="696" y="3709"/>
                  </a:lnTo>
                  <a:lnTo>
                    <a:pt x="1256" y="3716"/>
                  </a:lnTo>
                  <a:lnTo>
                    <a:pt x="1263" y="3168"/>
                  </a:lnTo>
                  <a:lnTo>
                    <a:pt x="971" y="31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8" name="Freeform 3">
              <a:extLst>
                <a:ext uri="{FF2B5EF4-FFF2-40B4-BE49-F238E27FC236}">
                  <a16:creationId xmlns:a16="http://schemas.microsoft.com/office/drawing/2014/main" id="{C66CDE14-205A-354B-A5FD-5478F19D84F3}"/>
                </a:ext>
              </a:extLst>
            </p:cNvPr>
            <p:cNvSpPr>
              <a:spLocks noChangeArrowheads="1"/>
            </p:cNvSpPr>
            <p:nvPr/>
          </p:nvSpPr>
          <p:spPr bwMode="auto">
            <a:xfrm>
              <a:off x="3562350" y="3786188"/>
              <a:ext cx="1069975" cy="1127125"/>
            </a:xfrm>
            <a:custGeom>
              <a:avLst/>
              <a:gdLst>
                <a:gd name="T0" fmla="*/ 2366 w 2971"/>
                <a:gd name="T1" fmla="*/ 1976 h 3132"/>
                <a:gd name="T2" fmla="*/ 1569 w 2971"/>
                <a:gd name="T3" fmla="*/ 2468 h 3132"/>
                <a:gd name="T4" fmla="*/ 716 w 2971"/>
                <a:gd name="T5" fmla="*/ 1556 h 3132"/>
                <a:gd name="T6" fmla="*/ 966 w 2971"/>
                <a:gd name="T7" fmla="*/ 910 h 3132"/>
                <a:gd name="T8" fmla="*/ 1593 w 2971"/>
                <a:gd name="T9" fmla="*/ 667 h 3132"/>
                <a:gd name="T10" fmla="*/ 2376 w 2971"/>
                <a:gd name="T11" fmla="*/ 1201 h 3132"/>
                <a:gd name="T12" fmla="*/ 2970 w 2971"/>
                <a:gd name="T13" fmla="*/ 871 h 3132"/>
                <a:gd name="T14" fmla="*/ 1576 w 2971"/>
                <a:gd name="T15" fmla="*/ 12 h 3132"/>
                <a:gd name="T16" fmla="*/ 11 w 2971"/>
                <a:gd name="T17" fmla="*/ 1545 h 3132"/>
                <a:gd name="T18" fmla="*/ 1559 w 2971"/>
                <a:gd name="T19" fmla="*/ 3123 h 3132"/>
                <a:gd name="T20" fmla="*/ 2950 w 2971"/>
                <a:gd name="T21" fmla="*/ 2314 h 3132"/>
                <a:gd name="T22" fmla="*/ 2379 w 2971"/>
                <a:gd name="T23" fmla="*/ 1977 h 3132"/>
                <a:gd name="T24" fmla="*/ 2366 w 2971"/>
                <a:gd name="T25" fmla="*/ 1976 h 3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1" h="3132">
                  <a:moveTo>
                    <a:pt x="2366" y="1976"/>
                  </a:moveTo>
                  <a:cubicBezTo>
                    <a:pt x="2256" y="2216"/>
                    <a:pt x="2006" y="2472"/>
                    <a:pt x="1569" y="2468"/>
                  </a:cubicBezTo>
                  <a:cubicBezTo>
                    <a:pt x="1072" y="2462"/>
                    <a:pt x="710" y="2081"/>
                    <a:pt x="716" y="1556"/>
                  </a:cubicBezTo>
                  <a:cubicBezTo>
                    <a:pt x="720" y="1300"/>
                    <a:pt x="815" y="1064"/>
                    <a:pt x="966" y="910"/>
                  </a:cubicBezTo>
                  <a:cubicBezTo>
                    <a:pt x="1138" y="742"/>
                    <a:pt x="1337" y="657"/>
                    <a:pt x="1593" y="667"/>
                  </a:cubicBezTo>
                  <a:cubicBezTo>
                    <a:pt x="1976" y="670"/>
                    <a:pt x="2254" y="891"/>
                    <a:pt x="2376" y="1201"/>
                  </a:cubicBezTo>
                  <a:lnTo>
                    <a:pt x="2970" y="871"/>
                  </a:lnTo>
                  <a:cubicBezTo>
                    <a:pt x="2716" y="350"/>
                    <a:pt x="2184" y="19"/>
                    <a:pt x="1576" y="12"/>
                  </a:cubicBezTo>
                  <a:cubicBezTo>
                    <a:pt x="696" y="0"/>
                    <a:pt x="22" y="683"/>
                    <a:pt x="11" y="1545"/>
                  </a:cubicBezTo>
                  <a:cubicBezTo>
                    <a:pt x="0" y="2384"/>
                    <a:pt x="634" y="3111"/>
                    <a:pt x="1559" y="3123"/>
                  </a:cubicBezTo>
                  <a:cubicBezTo>
                    <a:pt x="2184" y="3131"/>
                    <a:pt x="2691" y="2793"/>
                    <a:pt x="2950" y="2314"/>
                  </a:cubicBezTo>
                  <a:lnTo>
                    <a:pt x="2379" y="1977"/>
                  </a:lnTo>
                  <a:lnTo>
                    <a:pt x="2366" y="19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9" name="Freeform 4">
              <a:extLst>
                <a:ext uri="{FF2B5EF4-FFF2-40B4-BE49-F238E27FC236}">
                  <a16:creationId xmlns:a16="http://schemas.microsoft.com/office/drawing/2014/main" id="{D15F5801-8DD3-2040-AC83-5D323C4DAE8C}"/>
                </a:ext>
              </a:extLst>
            </p:cNvPr>
            <p:cNvSpPr>
              <a:spLocks noChangeArrowheads="1"/>
            </p:cNvSpPr>
            <p:nvPr/>
          </p:nvSpPr>
          <p:spPr bwMode="auto">
            <a:xfrm>
              <a:off x="6546850" y="3575050"/>
              <a:ext cx="492125" cy="1338263"/>
            </a:xfrm>
            <a:custGeom>
              <a:avLst/>
              <a:gdLst>
                <a:gd name="T0" fmla="*/ 960 w 1365"/>
                <a:gd name="T1" fmla="*/ 3164 h 3718"/>
                <a:gd name="T2" fmla="*/ 753 w 1365"/>
                <a:gd name="T3" fmla="*/ 2983 h 3718"/>
                <a:gd name="T4" fmla="*/ 773 w 1365"/>
                <a:gd name="T5" fmla="*/ 1401 h 3718"/>
                <a:gd name="T6" fmla="*/ 1336 w 1365"/>
                <a:gd name="T7" fmla="*/ 1408 h 3718"/>
                <a:gd name="T8" fmla="*/ 1343 w 1365"/>
                <a:gd name="T9" fmla="*/ 860 h 3718"/>
                <a:gd name="T10" fmla="*/ 780 w 1365"/>
                <a:gd name="T11" fmla="*/ 853 h 3718"/>
                <a:gd name="T12" fmla="*/ 791 w 1365"/>
                <a:gd name="T13" fmla="*/ 9 h 3718"/>
                <a:gd name="T14" fmla="*/ 89 w 1365"/>
                <a:gd name="T15" fmla="*/ 0 h 3718"/>
                <a:gd name="T16" fmla="*/ 51 w 1365"/>
                <a:gd name="T17" fmla="*/ 2965 h 3718"/>
                <a:gd name="T18" fmla="*/ 683 w 1365"/>
                <a:gd name="T19" fmla="*/ 3708 h 3718"/>
                <a:gd name="T20" fmla="*/ 684 w 1365"/>
                <a:gd name="T21" fmla="*/ 3708 h 3718"/>
                <a:gd name="T22" fmla="*/ 1357 w 1365"/>
                <a:gd name="T23" fmla="*/ 3717 h 3718"/>
                <a:gd name="T24" fmla="*/ 1364 w 1365"/>
                <a:gd name="T25" fmla="*/ 3169 h 3718"/>
                <a:gd name="T26" fmla="*/ 960 w 1365"/>
                <a:gd name="T27" fmla="*/ 3164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5" h="3718">
                  <a:moveTo>
                    <a:pt x="960" y="3164"/>
                  </a:moveTo>
                  <a:cubicBezTo>
                    <a:pt x="960" y="3164"/>
                    <a:pt x="756" y="3164"/>
                    <a:pt x="753" y="2983"/>
                  </a:cubicBezTo>
                  <a:lnTo>
                    <a:pt x="773" y="1401"/>
                  </a:lnTo>
                  <a:lnTo>
                    <a:pt x="1336" y="1408"/>
                  </a:lnTo>
                  <a:lnTo>
                    <a:pt x="1343" y="860"/>
                  </a:lnTo>
                  <a:lnTo>
                    <a:pt x="780" y="853"/>
                  </a:lnTo>
                  <a:lnTo>
                    <a:pt x="791" y="9"/>
                  </a:lnTo>
                  <a:lnTo>
                    <a:pt x="89" y="0"/>
                  </a:lnTo>
                  <a:lnTo>
                    <a:pt x="51" y="2965"/>
                  </a:lnTo>
                  <a:cubicBezTo>
                    <a:pt x="51" y="2965"/>
                    <a:pt x="0" y="3701"/>
                    <a:pt x="683" y="3708"/>
                  </a:cubicBezTo>
                  <a:lnTo>
                    <a:pt x="684" y="3708"/>
                  </a:lnTo>
                  <a:lnTo>
                    <a:pt x="1357" y="3717"/>
                  </a:lnTo>
                  <a:lnTo>
                    <a:pt x="1364" y="3169"/>
                  </a:lnTo>
                  <a:lnTo>
                    <a:pt x="960" y="31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4178894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Slide v3">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875600" y="2286000"/>
            <a:ext cx="7970400" cy="1884008"/>
          </a:xfrm>
        </p:spPr>
        <p:txBody>
          <a:bodyPr/>
          <a:lstStyle>
            <a:lvl1pPr algn="l">
              <a:lnSpc>
                <a:spcPts val="6630"/>
              </a:lnSpc>
              <a:defRPr sz="6630"/>
            </a:lvl1pPr>
          </a:lstStyle>
          <a:p>
            <a:r>
              <a:rPr lang="en-GB" dirty="0"/>
              <a:t>Title Slide</a:t>
            </a:r>
            <a:endParaRPr lang="en-GB" noProof="0" dirty="0"/>
          </a:p>
        </p:txBody>
      </p:sp>
      <p:sp>
        <p:nvSpPr>
          <p:cNvPr id="3" name="Subtitle 2"/>
          <p:cNvSpPr>
            <a:spLocks noGrp="1"/>
          </p:cNvSpPr>
          <p:nvPr>
            <p:ph type="subTitle" idx="1"/>
          </p:nvPr>
        </p:nvSpPr>
        <p:spPr>
          <a:xfrm>
            <a:off x="1875600" y="4170008"/>
            <a:ext cx="7970400" cy="226795"/>
          </a:xfrm>
        </p:spPr>
        <p:txBody>
          <a:bodyPr/>
          <a:lstStyle>
            <a:lvl1pPr marL="0" indent="0" algn="l">
              <a:lnSpc>
                <a:spcPts val="1590"/>
              </a:lnSpc>
              <a:spcAft>
                <a:spcPts val="0"/>
              </a:spcAft>
              <a:buNone/>
              <a:defRPr sz="141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sp>
        <p:nvSpPr>
          <p:cNvPr id="4" name="Date Placeholder 3"/>
          <p:cNvSpPr>
            <a:spLocks noGrp="1"/>
          </p:cNvSpPr>
          <p:nvPr>
            <p:ph type="dt" sz="half" idx="10"/>
          </p:nvPr>
        </p:nvSpPr>
        <p:spPr>
          <a:xfrm>
            <a:off x="1875600" y="4414345"/>
            <a:ext cx="3996000" cy="288000"/>
          </a:xfrm>
        </p:spPr>
        <p:txBody>
          <a:bodyPr anchor="t" anchorCtr="0"/>
          <a:lstStyle>
            <a:lvl1pPr>
              <a:lnSpc>
                <a:spcPts val="1590"/>
              </a:lnSpc>
              <a:defRPr sz="1410">
                <a:solidFill>
                  <a:schemeClr val="accent2"/>
                </a:solidFill>
              </a:defRPr>
            </a:lvl1pPr>
          </a:lstStyle>
          <a:p>
            <a:pPr>
              <a:lnSpc>
                <a:spcPts val="1590"/>
              </a:lnSpc>
            </a:pPr>
            <a:fld id="{5DE8B054-D3B1-4075-9E75-7BF3368B33BB}" type="datetime3">
              <a:rPr lang="en-US" smtClean="0"/>
              <a:t>22 December 2023</a:t>
            </a:fld>
            <a:endParaRPr lang="en-GB" dirty="0"/>
          </a:p>
        </p:txBody>
      </p:sp>
      <p:grpSp>
        <p:nvGrpSpPr>
          <p:cNvPr id="7" name="Group 6">
            <a:extLst>
              <a:ext uri="{FF2B5EF4-FFF2-40B4-BE49-F238E27FC236}">
                <a16:creationId xmlns:a16="http://schemas.microsoft.com/office/drawing/2014/main" id="{9C82FC82-9044-2B40-8B58-7D97551A4DCF}"/>
              </a:ext>
            </a:extLst>
          </p:cNvPr>
          <p:cNvGrpSpPr/>
          <p:nvPr userDrawn="1"/>
        </p:nvGrpSpPr>
        <p:grpSpPr>
          <a:xfrm>
            <a:off x="-5779" y="0"/>
            <a:ext cx="12253772" cy="6858001"/>
            <a:chOff x="1258607" y="212725"/>
            <a:chExt cx="1035331" cy="579438"/>
          </a:xfrm>
        </p:grpSpPr>
        <p:sp>
          <p:nvSpPr>
            <p:cNvPr id="9" name="Freeform 15">
              <a:extLst>
                <a:ext uri="{FF2B5EF4-FFF2-40B4-BE49-F238E27FC236}">
                  <a16:creationId xmlns:a16="http://schemas.microsoft.com/office/drawing/2014/main" id="{10916A19-676E-4243-AB89-8A67DF3CE9E5}"/>
                </a:ext>
              </a:extLst>
            </p:cNvPr>
            <p:cNvSpPr>
              <a:spLocks noChangeArrowheads="1"/>
            </p:cNvSpPr>
            <p:nvPr/>
          </p:nvSpPr>
          <p:spPr bwMode="auto">
            <a:xfrm>
              <a:off x="1258607" y="536575"/>
              <a:ext cx="131763" cy="155575"/>
            </a:xfrm>
            <a:custGeom>
              <a:avLst/>
              <a:gdLst>
                <a:gd name="T0" fmla="*/ 228 w 368"/>
                <a:gd name="T1" fmla="*/ 403 h 433"/>
                <a:gd name="T2" fmla="*/ 307 w 368"/>
                <a:gd name="T3" fmla="*/ 108 h 433"/>
                <a:gd name="T4" fmla="*/ 120 w 368"/>
                <a:gd name="T5" fmla="*/ 0 h 433"/>
                <a:gd name="T6" fmla="*/ 12 w 368"/>
                <a:gd name="T7" fmla="*/ 29 h 433"/>
                <a:gd name="T8" fmla="*/ 0 w 368"/>
                <a:gd name="T9" fmla="*/ 36 h 433"/>
                <a:gd name="T10" fmla="*/ 0 w 368"/>
                <a:gd name="T11" fmla="*/ 125 h 433"/>
                <a:gd name="T12" fmla="*/ 45 w 368"/>
                <a:gd name="T13" fmla="*/ 85 h 433"/>
                <a:gd name="T14" fmla="*/ 120 w 368"/>
                <a:gd name="T15" fmla="*/ 65 h 433"/>
                <a:gd name="T16" fmla="*/ 120 w 368"/>
                <a:gd name="T17" fmla="*/ 65 h 433"/>
                <a:gd name="T18" fmla="*/ 251 w 368"/>
                <a:gd name="T19" fmla="*/ 140 h 433"/>
                <a:gd name="T20" fmla="*/ 266 w 368"/>
                <a:gd name="T21" fmla="*/ 255 h 433"/>
                <a:gd name="T22" fmla="*/ 195 w 368"/>
                <a:gd name="T23" fmla="*/ 346 h 433"/>
                <a:gd name="T24" fmla="*/ 120 w 368"/>
                <a:gd name="T25" fmla="*/ 366 h 433"/>
                <a:gd name="T26" fmla="*/ 0 w 368"/>
                <a:gd name="T27" fmla="*/ 307 h 433"/>
                <a:gd name="T28" fmla="*/ 0 w 368"/>
                <a:gd name="T29" fmla="*/ 395 h 433"/>
                <a:gd name="T30" fmla="*/ 120 w 368"/>
                <a:gd name="T31" fmla="*/ 432 h 433"/>
                <a:gd name="T32" fmla="*/ 228 w 368"/>
                <a:gd name="T33" fmla="*/ 403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68" h="433">
                  <a:moveTo>
                    <a:pt x="228" y="403"/>
                  </a:moveTo>
                  <a:cubicBezTo>
                    <a:pt x="331" y="343"/>
                    <a:pt x="367" y="211"/>
                    <a:pt x="307" y="108"/>
                  </a:cubicBezTo>
                  <a:cubicBezTo>
                    <a:pt x="267" y="38"/>
                    <a:pt x="195" y="0"/>
                    <a:pt x="120" y="0"/>
                  </a:cubicBezTo>
                  <a:cubicBezTo>
                    <a:pt x="83" y="0"/>
                    <a:pt x="46" y="9"/>
                    <a:pt x="12" y="29"/>
                  </a:cubicBezTo>
                  <a:cubicBezTo>
                    <a:pt x="8" y="31"/>
                    <a:pt x="4" y="34"/>
                    <a:pt x="0" y="36"/>
                  </a:cubicBezTo>
                  <a:lnTo>
                    <a:pt x="0" y="125"/>
                  </a:lnTo>
                  <a:cubicBezTo>
                    <a:pt x="12" y="109"/>
                    <a:pt x="27" y="96"/>
                    <a:pt x="45" y="85"/>
                  </a:cubicBezTo>
                  <a:cubicBezTo>
                    <a:pt x="68" y="72"/>
                    <a:pt x="94" y="65"/>
                    <a:pt x="120" y="65"/>
                  </a:cubicBezTo>
                  <a:lnTo>
                    <a:pt x="120" y="65"/>
                  </a:lnTo>
                  <a:cubicBezTo>
                    <a:pt x="174" y="65"/>
                    <a:pt x="224" y="94"/>
                    <a:pt x="251" y="140"/>
                  </a:cubicBezTo>
                  <a:cubicBezTo>
                    <a:pt x="271" y="175"/>
                    <a:pt x="276" y="216"/>
                    <a:pt x="266" y="255"/>
                  </a:cubicBezTo>
                  <a:cubicBezTo>
                    <a:pt x="255" y="294"/>
                    <a:pt x="230" y="326"/>
                    <a:pt x="195" y="346"/>
                  </a:cubicBezTo>
                  <a:cubicBezTo>
                    <a:pt x="172" y="359"/>
                    <a:pt x="147" y="366"/>
                    <a:pt x="120" y="366"/>
                  </a:cubicBezTo>
                  <a:cubicBezTo>
                    <a:pt x="73" y="366"/>
                    <a:pt x="28" y="344"/>
                    <a:pt x="0" y="307"/>
                  </a:cubicBezTo>
                  <a:lnTo>
                    <a:pt x="0" y="395"/>
                  </a:lnTo>
                  <a:cubicBezTo>
                    <a:pt x="36" y="419"/>
                    <a:pt x="78" y="432"/>
                    <a:pt x="120" y="432"/>
                  </a:cubicBezTo>
                  <a:cubicBezTo>
                    <a:pt x="157" y="432"/>
                    <a:pt x="194" y="422"/>
                    <a:pt x="228" y="403"/>
                  </a:cubicBezTo>
                </a:path>
              </a:pathLst>
            </a:custGeom>
            <a:solidFill>
              <a:schemeClr val="accent5">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0" name="Freeform 16">
              <a:extLst>
                <a:ext uri="{FF2B5EF4-FFF2-40B4-BE49-F238E27FC236}">
                  <a16:creationId xmlns:a16="http://schemas.microsoft.com/office/drawing/2014/main" id="{1074A724-83DC-4D4F-AB20-01A56656793B}"/>
                </a:ext>
              </a:extLst>
            </p:cNvPr>
            <p:cNvSpPr>
              <a:spLocks noChangeArrowheads="1"/>
            </p:cNvSpPr>
            <p:nvPr/>
          </p:nvSpPr>
          <p:spPr bwMode="auto">
            <a:xfrm>
              <a:off x="2155825" y="382588"/>
              <a:ext cx="138113" cy="155575"/>
            </a:xfrm>
            <a:custGeom>
              <a:avLst/>
              <a:gdLst>
                <a:gd name="T0" fmla="*/ 209 w 382"/>
                <a:gd name="T1" fmla="*/ 0 h 433"/>
                <a:gd name="T2" fmla="*/ 101 w 382"/>
                <a:gd name="T3" fmla="*/ 29 h 433"/>
                <a:gd name="T4" fmla="*/ 0 w 382"/>
                <a:gd name="T5" fmla="*/ 160 h 433"/>
                <a:gd name="T6" fmla="*/ 61 w 382"/>
                <a:gd name="T7" fmla="*/ 187 h 433"/>
                <a:gd name="T8" fmla="*/ 63 w 382"/>
                <a:gd name="T9" fmla="*/ 177 h 433"/>
                <a:gd name="T10" fmla="*/ 134 w 382"/>
                <a:gd name="T11" fmla="*/ 85 h 433"/>
                <a:gd name="T12" fmla="*/ 209 w 382"/>
                <a:gd name="T13" fmla="*/ 65 h 433"/>
                <a:gd name="T14" fmla="*/ 209 w 382"/>
                <a:gd name="T15" fmla="*/ 65 h 433"/>
                <a:gd name="T16" fmla="*/ 339 w 382"/>
                <a:gd name="T17" fmla="*/ 140 h 433"/>
                <a:gd name="T18" fmla="*/ 284 w 382"/>
                <a:gd name="T19" fmla="*/ 346 h 433"/>
                <a:gd name="T20" fmla="*/ 209 w 382"/>
                <a:gd name="T21" fmla="*/ 366 h 433"/>
                <a:gd name="T22" fmla="*/ 160 w 382"/>
                <a:gd name="T23" fmla="*/ 358 h 433"/>
                <a:gd name="T24" fmla="*/ 153 w 382"/>
                <a:gd name="T25" fmla="*/ 424 h 433"/>
                <a:gd name="T26" fmla="*/ 209 w 382"/>
                <a:gd name="T27" fmla="*/ 432 h 433"/>
                <a:gd name="T28" fmla="*/ 317 w 382"/>
                <a:gd name="T29" fmla="*/ 403 h 433"/>
                <a:gd name="T30" fmla="*/ 371 w 382"/>
                <a:gd name="T31" fmla="*/ 358 h 433"/>
                <a:gd name="T32" fmla="*/ 371 w 382"/>
                <a:gd name="T33" fmla="*/ 73 h 433"/>
                <a:gd name="T34" fmla="*/ 209 w 382"/>
                <a:gd name="T35" fmla="*/ 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82" h="433">
                  <a:moveTo>
                    <a:pt x="209" y="0"/>
                  </a:moveTo>
                  <a:cubicBezTo>
                    <a:pt x="172" y="0"/>
                    <a:pt x="135" y="9"/>
                    <a:pt x="101" y="29"/>
                  </a:cubicBezTo>
                  <a:cubicBezTo>
                    <a:pt x="49" y="58"/>
                    <a:pt x="15" y="106"/>
                    <a:pt x="0" y="160"/>
                  </a:cubicBezTo>
                  <a:cubicBezTo>
                    <a:pt x="22" y="165"/>
                    <a:pt x="42" y="175"/>
                    <a:pt x="61" y="187"/>
                  </a:cubicBezTo>
                  <a:cubicBezTo>
                    <a:pt x="62" y="183"/>
                    <a:pt x="63" y="180"/>
                    <a:pt x="63" y="177"/>
                  </a:cubicBezTo>
                  <a:cubicBezTo>
                    <a:pt x="74" y="138"/>
                    <a:pt x="99" y="105"/>
                    <a:pt x="134" y="85"/>
                  </a:cubicBezTo>
                  <a:cubicBezTo>
                    <a:pt x="156" y="72"/>
                    <a:pt x="182" y="65"/>
                    <a:pt x="209" y="65"/>
                  </a:cubicBezTo>
                  <a:lnTo>
                    <a:pt x="209" y="65"/>
                  </a:lnTo>
                  <a:cubicBezTo>
                    <a:pt x="262" y="65"/>
                    <a:pt x="312" y="94"/>
                    <a:pt x="339" y="140"/>
                  </a:cubicBezTo>
                  <a:cubicBezTo>
                    <a:pt x="381" y="212"/>
                    <a:pt x="356" y="304"/>
                    <a:pt x="284" y="346"/>
                  </a:cubicBezTo>
                  <a:cubicBezTo>
                    <a:pt x="261" y="359"/>
                    <a:pt x="235" y="366"/>
                    <a:pt x="209" y="366"/>
                  </a:cubicBezTo>
                  <a:cubicBezTo>
                    <a:pt x="192" y="366"/>
                    <a:pt x="176" y="363"/>
                    <a:pt x="160" y="358"/>
                  </a:cubicBezTo>
                  <a:cubicBezTo>
                    <a:pt x="161" y="380"/>
                    <a:pt x="159" y="403"/>
                    <a:pt x="153" y="424"/>
                  </a:cubicBezTo>
                  <a:cubicBezTo>
                    <a:pt x="171" y="429"/>
                    <a:pt x="190" y="432"/>
                    <a:pt x="209" y="432"/>
                  </a:cubicBezTo>
                  <a:cubicBezTo>
                    <a:pt x="246" y="432"/>
                    <a:pt x="283" y="422"/>
                    <a:pt x="317" y="403"/>
                  </a:cubicBezTo>
                  <a:cubicBezTo>
                    <a:pt x="338" y="390"/>
                    <a:pt x="356" y="375"/>
                    <a:pt x="371" y="358"/>
                  </a:cubicBezTo>
                  <a:lnTo>
                    <a:pt x="371" y="73"/>
                  </a:lnTo>
                  <a:cubicBezTo>
                    <a:pt x="330" y="26"/>
                    <a:pt x="270" y="0"/>
                    <a:pt x="209" y="0"/>
                  </a:cubicBezTo>
                </a:path>
              </a:pathLst>
            </a:custGeom>
            <a:solidFill>
              <a:schemeClr val="accent1">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1" name="Freeform 17">
              <a:extLst>
                <a:ext uri="{FF2B5EF4-FFF2-40B4-BE49-F238E27FC236}">
                  <a16:creationId xmlns:a16="http://schemas.microsoft.com/office/drawing/2014/main" id="{AB7336DD-F35E-9346-9528-EBCBDB61E8AB}"/>
                </a:ext>
              </a:extLst>
            </p:cNvPr>
            <p:cNvSpPr>
              <a:spLocks noChangeArrowheads="1"/>
            </p:cNvSpPr>
            <p:nvPr/>
          </p:nvSpPr>
          <p:spPr bwMode="auto">
            <a:xfrm>
              <a:off x="1501775" y="536575"/>
              <a:ext cx="531813" cy="255588"/>
            </a:xfrm>
            <a:custGeom>
              <a:avLst/>
              <a:gdLst>
                <a:gd name="T0" fmla="*/ 1417 w 1478"/>
                <a:gd name="T1" fmla="*/ 139 h 711"/>
                <a:gd name="T2" fmla="*/ 1122 w 1478"/>
                <a:gd name="T3" fmla="*/ 60 h 711"/>
                <a:gd name="T4" fmla="*/ 24 w 1478"/>
                <a:gd name="T5" fmla="*/ 694 h 711"/>
                <a:gd name="T6" fmla="*/ 0 w 1478"/>
                <a:gd name="T7" fmla="*/ 710 h 711"/>
                <a:gd name="T8" fmla="*/ 859 w 1478"/>
                <a:gd name="T9" fmla="*/ 710 h 711"/>
                <a:gd name="T10" fmla="*/ 1338 w 1478"/>
                <a:gd name="T11" fmla="*/ 434 h 711"/>
                <a:gd name="T12" fmla="*/ 1417 w 1478"/>
                <a:gd name="T13" fmla="*/ 139 h 711"/>
              </a:gdLst>
              <a:ahLst/>
              <a:cxnLst>
                <a:cxn ang="0">
                  <a:pos x="T0" y="T1"/>
                </a:cxn>
                <a:cxn ang="0">
                  <a:pos x="T2" y="T3"/>
                </a:cxn>
                <a:cxn ang="0">
                  <a:pos x="T4" y="T5"/>
                </a:cxn>
                <a:cxn ang="0">
                  <a:pos x="T6" y="T7"/>
                </a:cxn>
                <a:cxn ang="0">
                  <a:pos x="T8" y="T9"/>
                </a:cxn>
                <a:cxn ang="0">
                  <a:pos x="T10" y="T11"/>
                </a:cxn>
                <a:cxn ang="0">
                  <a:pos x="T12" y="T13"/>
                </a:cxn>
              </a:cxnLst>
              <a:rect l="0" t="0" r="r" b="b"/>
              <a:pathLst>
                <a:path w="1478" h="711">
                  <a:moveTo>
                    <a:pt x="1417" y="139"/>
                  </a:moveTo>
                  <a:cubicBezTo>
                    <a:pt x="1358" y="35"/>
                    <a:pt x="1226" y="0"/>
                    <a:pt x="1122" y="60"/>
                  </a:cubicBezTo>
                  <a:lnTo>
                    <a:pt x="24" y="694"/>
                  </a:lnTo>
                  <a:cubicBezTo>
                    <a:pt x="15" y="699"/>
                    <a:pt x="7" y="704"/>
                    <a:pt x="0" y="710"/>
                  </a:cubicBezTo>
                  <a:lnTo>
                    <a:pt x="859" y="710"/>
                  </a:lnTo>
                  <a:lnTo>
                    <a:pt x="1338" y="434"/>
                  </a:lnTo>
                  <a:cubicBezTo>
                    <a:pt x="1442" y="374"/>
                    <a:pt x="1477" y="242"/>
                    <a:pt x="1417" y="139"/>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2" name="Freeform 18">
              <a:extLst>
                <a:ext uri="{FF2B5EF4-FFF2-40B4-BE49-F238E27FC236}">
                  <a16:creationId xmlns:a16="http://schemas.microsoft.com/office/drawing/2014/main" id="{D36C2912-3E2D-E643-8BE8-858D1F16A0A0}"/>
                </a:ext>
              </a:extLst>
            </p:cNvPr>
            <p:cNvSpPr>
              <a:spLocks noChangeArrowheads="1"/>
            </p:cNvSpPr>
            <p:nvPr/>
          </p:nvSpPr>
          <p:spPr bwMode="auto">
            <a:xfrm>
              <a:off x="1785938" y="212725"/>
              <a:ext cx="368300" cy="160338"/>
            </a:xfrm>
            <a:custGeom>
              <a:avLst/>
              <a:gdLst>
                <a:gd name="T0" fmla="*/ 60 w 1023"/>
                <a:gd name="T1" fmla="*/ 306 h 446"/>
                <a:gd name="T2" fmla="*/ 355 w 1023"/>
                <a:gd name="T3" fmla="*/ 386 h 446"/>
                <a:gd name="T4" fmla="*/ 1022 w 1023"/>
                <a:gd name="T5" fmla="*/ 0 h 446"/>
                <a:gd name="T6" fmla="*/ 159 w 1023"/>
                <a:gd name="T7" fmla="*/ 0 h 446"/>
                <a:gd name="T8" fmla="*/ 139 w 1023"/>
                <a:gd name="T9" fmla="*/ 11 h 446"/>
                <a:gd name="T10" fmla="*/ 60 w 1023"/>
                <a:gd name="T11" fmla="*/ 306 h 446"/>
              </a:gdLst>
              <a:ahLst/>
              <a:cxnLst>
                <a:cxn ang="0">
                  <a:pos x="T0" y="T1"/>
                </a:cxn>
                <a:cxn ang="0">
                  <a:pos x="T2" y="T3"/>
                </a:cxn>
                <a:cxn ang="0">
                  <a:pos x="T4" y="T5"/>
                </a:cxn>
                <a:cxn ang="0">
                  <a:pos x="T6" y="T7"/>
                </a:cxn>
                <a:cxn ang="0">
                  <a:pos x="T8" y="T9"/>
                </a:cxn>
                <a:cxn ang="0">
                  <a:pos x="T10" y="T11"/>
                </a:cxn>
              </a:cxnLst>
              <a:rect l="0" t="0" r="r" b="b"/>
              <a:pathLst>
                <a:path w="1023" h="446">
                  <a:moveTo>
                    <a:pt x="60" y="306"/>
                  </a:moveTo>
                  <a:cubicBezTo>
                    <a:pt x="120" y="410"/>
                    <a:pt x="252" y="445"/>
                    <a:pt x="355" y="386"/>
                  </a:cubicBezTo>
                  <a:lnTo>
                    <a:pt x="1022" y="0"/>
                  </a:lnTo>
                  <a:lnTo>
                    <a:pt x="159" y="0"/>
                  </a:lnTo>
                  <a:lnTo>
                    <a:pt x="139" y="11"/>
                  </a:lnTo>
                  <a:cubicBezTo>
                    <a:pt x="36" y="71"/>
                    <a:pt x="0" y="203"/>
                    <a:pt x="60" y="306"/>
                  </a:cubicBezTo>
                </a:path>
              </a:pathLst>
            </a:custGeom>
            <a:solidFill>
              <a:schemeClr val="accent5"/>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19">
              <a:extLst>
                <a:ext uri="{FF2B5EF4-FFF2-40B4-BE49-F238E27FC236}">
                  <a16:creationId xmlns:a16="http://schemas.microsoft.com/office/drawing/2014/main" id="{AE519EB9-64ED-9740-BC40-C9F17F031908}"/>
                </a:ext>
              </a:extLst>
            </p:cNvPr>
            <p:cNvSpPr>
              <a:spLocks noChangeArrowheads="1"/>
            </p:cNvSpPr>
            <p:nvPr/>
          </p:nvSpPr>
          <p:spPr bwMode="auto">
            <a:xfrm>
              <a:off x="2048630" y="433804"/>
              <a:ext cx="163512" cy="169863"/>
            </a:xfrm>
            <a:custGeom>
              <a:avLst/>
              <a:gdLst>
                <a:gd name="T0" fmla="*/ 324 w 456"/>
                <a:gd name="T1" fmla="*/ 179 h 471"/>
                <a:gd name="T2" fmla="*/ 302 w 456"/>
                <a:gd name="T3" fmla="*/ 15 h 471"/>
                <a:gd name="T4" fmla="*/ 138 w 456"/>
                <a:gd name="T5" fmla="*/ 36 h 471"/>
                <a:gd name="T6" fmla="*/ 59 w 456"/>
                <a:gd name="T7" fmla="*/ 331 h 471"/>
                <a:gd name="T8" fmla="*/ 354 w 456"/>
                <a:gd name="T9" fmla="*/ 410 h 471"/>
                <a:gd name="T10" fmla="*/ 455 w 456"/>
                <a:gd name="T11" fmla="*/ 279 h 471"/>
                <a:gd name="T12" fmla="*/ 324 w 456"/>
                <a:gd name="T13" fmla="*/ 179 h 471"/>
              </a:gdLst>
              <a:ahLst/>
              <a:cxnLst>
                <a:cxn ang="0">
                  <a:pos x="T0" y="T1"/>
                </a:cxn>
                <a:cxn ang="0">
                  <a:pos x="T2" y="T3"/>
                </a:cxn>
                <a:cxn ang="0">
                  <a:pos x="T4" y="T5"/>
                </a:cxn>
                <a:cxn ang="0">
                  <a:pos x="T6" y="T7"/>
                </a:cxn>
                <a:cxn ang="0">
                  <a:pos x="T8" y="T9"/>
                </a:cxn>
                <a:cxn ang="0">
                  <a:pos x="T10" y="T11"/>
                </a:cxn>
                <a:cxn ang="0">
                  <a:pos x="T12" y="T13"/>
                </a:cxn>
              </a:cxnLst>
              <a:rect l="0" t="0" r="r" b="b"/>
              <a:pathLst>
                <a:path w="456" h="471">
                  <a:moveTo>
                    <a:pt x="324" y="179"/>
                  </a:moveTo>
                  <a:cubicBezTo>
                    <a:pt x="294" y="127"/>
                    <a:pt x="288" y="68"/>
                    <a:pt x="302" y="15"/>
                  </a:cubicBezTo>
                  <a:cubicBezTo>
                    <a:pt x="249" y="0"/>
                    <a:pt x="190" y="6"/>
                    <a:pt x="138" y="36"/>
                  </a:cubicBezTo>
                  <a:cubicBezTo>
                    <a:pt x="35" y="96"/>
                    <a:pt x="0" y="228"/>
                    <a:pt x="59" y="331"/>
                  </a:cubicBezTo>
                  <a:cubicBezTo>
                    <a:pt x="119" y="435"/>
                    <a:pt x="251" y="470"/>
                    <a:pt x="354" y="410"/>
                  </a:cubicBezTo>
                  <a:cubicBezTo>
                    <a:pt x="406" y="380"/>
                    <a:pt x="441" y="333"/>
                    <a:pt x="455" y="279"/>
                  </a:cubicBezTo>
                  <a:cubicBezTo>
                    <a:pt x="402" y="265"/>
                    <a:pt x="354" y="230"/>
                    <a:pt x="324" y="179"/>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4" name="Freeform 20">
              <a:extLst>
                <a:ext uri="{FF2B5EF4-FFF2-40B4-BE49-F238E27FC236}">
                  <a16:creationId xmlns:a16="http://schemas.microsoft.com/office/drawing/2014/main" id="{AC1AD26F-AF6A-7F48-BCAE-0CC3CFB2161E}"/>
                </a:ext>
              </a:extLst>
            </p:cNvPr>
            <p:cNvSpPr>
              <a:spLocks noChangeArrowheads="1"/>
            </p:cNvSpPr>
            <p:nvPr/>
          </p:nvSpPr>
          <p:spPr bwMode="auto">
            <a:xfrm>
              <a:off x="2174875" y="449263"/>
              <a:ext cx="38100" cy="61912"/>
            </a:xfrm>
            <a:custGeom>
              <a:avLst/>
              <a:gdLst>
                <a:gd name="T0" fmla="*/ 24 w 107"/>
                <a:gd name="T1" fmla="*/ 104 h 172"/>
                <a:gd name="T2" fmla="*/ 106 w 107"/>
                <a:gd name="T3" fmla="*/ 171 h 172"/>
                <a:gd name="T4" fmla="*/ 77 w 107"/>
                <a:gd name="T5" fmla="*/ 73 h 172"/>
                <a:gd name="T6" fmla="*/ 7 w 107"/>
                <a:gd name="T7" fmla="*/ 0 h 172"/>
                <a:gd name="T8" fmla="*/ 24 w 107"/>
                <a:gd name="T9" fmla="*/ 104 h 172"/>
              </a:gdLst>
              <a:ahLst/>
              <a:cxnLst>
                <a:cxn ang="0">
                  <a:pos x="T0" y="T1"/>
                </a:cxn>
                <a:cxn ang="0">
                  <a:pos x="T2" y="T3"/>
                </a:cxn>
                <a:cxn ang="0">
                  <a:pos x="T4" y="T5"/>
                </a:cxn>
                <a:cxn ang="0">
                  <a:pos x="T6" y="T7"/>
                </a:cxn>
                <a:cxn ang="0">
                  <a:pos x="T8" y="T9"/>
                </a:cxn>
              </a:cxnLst>
              <a:rect l="0" t="0" r="r" b="b"/>
              <a:pathLst>
                <a:path w="107" h="172">
                  <a:moveTo>
                    <a:pt x="24" y="104"/>
                  </a:moveTo>
                  <a:cubicBezTo>
                    <a:pt x="43" y="136"/>
                    <a:pt x="72" y="159"/>
                    <a:pt x="106" y="171"/>
                  </a:cubicBezTo>
                  <a:cubicBezTo>
                    <a:pt x="104" y="138"/>
                    <a:pt x="95" y="104"/>
                    <a:pt x="77" y="73"/>
                  </a:cubicBezTo>
                  <a:cubicBezTo>
                    <a:pt x="60" y="42"/>
                    <a:pt x="35" y="18"/>
                    <a:pt x="7" y="0"/>
                  </a:cubicBezTo>
                  <a:cubicBezTo>
                    <a:pt x="0" y="35"/>
                    <a:pt x="6" y="72"/>
                    <a:pt x="24" y="104"/>
                  </a:cubicBezTo>
                </a:path>
              </a:pathLst>
            </a:custGeom>
            <a:solidFill>
              <a:schemeClr val="accent1">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5" name="Freeform 21">
              <a:extLst>
                <a:ext uri="{FF2B5EF4-FFF2-40B4-BE49-F238E27FC236}">
                  <a16:creationId xmlns:a16="http://schemas.microsoft.com/office/drawing/2014/main" id="{4A69A7A4-4042-E341-B9C8-542652290443}"/>
                </a:ext>
              </a:extLst>
            </p:cNvPr>
            <p:cNvSpPr>
              <a:spLocks noChangeArrowheads="1"/>
            </p:cNvSpPr>
            <p:nvPr/>
          </p:nvSpPr>
          <p:spPr bwMode="auto">
            <a:xfrm>
              <a:off x="2151063" y="439738"/>
              <a:ext cx="63500" cy="95250"/>
            </a:xfrm>
            <a:custGeom>
              <a:avLst/>
              <a:gdLst>
                <a:gd name="T0" fmla="*/ 174 w 176"/>
                <a:gd name="T1" fmla="*/ 198 h 265"/>
                <a:gd name="T2" fmla="*/ 92 w 176"/>
                <a:gd name="T3" fmla="*/ 131 h 265"/>
                <a:gd name="T4" fmla="*/ 75 w 176"/>
                <a:gd name="T5" fmla="*/ 27 h 265"/>
                <a:gd name="T6" fmla="*/ 14 w 176"/>
                <a:gd name="T7" fmla="*/ 0 h 265"/>
                <a:gd name="T8" fmla="*/ 36 w 176"/>
                <a:gd name="T9" fmla="*/ 164 h 265"/>
                <a:gd name="T10" fmla="*/ 167 w 176"/>
                <a:gd name="T11" fmla="*/ 264 h 265"/>
                <a:gd name="T12" fmla="*/ 174 w 176"/>
                <a:gd name="T13" fmla="*/ 198 h 265"/>
              </a:gdLst>
              <a:ahLst/>
              <a:cxnLst>
                <a:cxn ang="0">
                  <a:pos x="T0" y="T1"/>
                </a:cxn>
                <a:cxn ang="0">
                  <a:pos x="T2" y="T3"/>
                </a:cxn>
                <a:cxn ang="0">
                  <a:pos x="T4" y="T5"/>
                </a:cxn>
                <a:cxn ang="0">
                  <a:pos x="T6" y="T7"/>
                </a:cxn>
                <a:cxn ang="0">
                  <a:pos x="T8" y="T9"/>
                </a:cxn>
                <a:cxn ang="0">
                  <a:pos x="T10" y="T11"/>
                </a:cxn>
                <a:cxn ang="0">
                  <a:pos x="T12" y="T13"/>
                </a:cxn>
              </a:cxnLst>
              <a:rect l="0" t="0" r="r" b="b"/>
              <a:pathLst>
                <a:path w="176" h="265">
                  <a:moveTo>
                    <a:pt x="174" y="198"/>
                  </a:moveTo>
                  <a:cubicBezTo>
                    <a:pt x="140" y="186"/>
                    <a:pt x="111" y="163"/>
                    <a:pt x="92" y="131"/>
                  </a:cubicBezTo>
                  <a:cubicBezTo>
                    <a:pt x="74" y="99"/>
                    <a:pt x="68" y="62"/>
                    <a:pt x="75" y="27"/>
                  </a:cubicBezTo>
                  <a:cubicBezTo>
                    <a:pt x="56" y="15"/>
                    <a:pt x="36" y="5"/>
                    <a:pt x="14" y="0"/>
                  </a:cubicBezTo>
                  <a:cubicBezTo>
                    <a:pt x="0" y="53"/>
                    <a:pt x="6" y="112"/>
                    <a:pt x="36" y="164"/>
                  </a:cubicBezTo>
                  <a:cubicBezTo>
                    <a:pt x="66" y="215"/>
                    <a:pt x="114" y="250"/>
                    <a:pt x="167" y="264"/>
                  </a:cubicBezTo>
                  <a:cubicBezTo>
                    <a:pt x="173" y="243"/>
                    <a:pt x="175" y="220"/>
                    <a:pt x="174" y="198"/>
                  </a:cubicBezTo>
                </a:path>
              </a:pathLst>
            </a:custGeom>
            <a:solidFill>
              <a:schemeClr val="accent1">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grpSp>
        <p:nvGrpSpPr>
          <p:cNvPr id="16" name="Group 15">
            <a:extLst>
              <a:ext uri="{FF2B5EF4-FFF2-40B4-BE49-F238E27FC236}">
                <a16:creationId xmlns:a16="http://schemas.microsoft.com/office/drawing/2014/main" id="{1BE1CCB0-AFC3-6F4B-B3CF-A71DD06DE5FA}"/>
              </a:ext>
            </a:extLst>
          </p:cNvPr>
          <p:cNvGrpSpPr/>
          <p:nvPr userDrawn="1"/>
        </p:nvGrpSpPr>
        <p:grpSpPr>
          <a:xfrm>
            <a:off x="471600" y="443753"/>
            <a:ext cx="1412891" cy="552898"/>
            <a:chOff x="3562350" y="3567113"/>
            <a:chExt cx="3476625" cy="1360487"/>
          </a:xfrm>
          <a:solidFill>
            <a:schemeClr val="accent1"/>
          </a:solidFill>
        </p:grpSpPr>
        <p:sp>
          <p:nvSpPr>
            <p:cNvPr id="17" name="Freeform 1">
              <a:extLst>
                <a:ext uri="{FF2B5EF4-FFF2-40B4-BE49-F238E27FC236}">
                  <a16:creationId xmlns:a16="http://schemas.microsoft.com/office/drawing/2014/main" id="{60036AFA-61FA-5345-99DA-4B68829AFA0C}"/>
                </a:ext>
              </a:extLst>
            </p:cNvPr>
            <p:cNvSpPr>
              <a:spLocks noChangeArrowheads="1"/>
            </p:cNvSpPr>
            <p:nvPr/>
          </p:nvSpPr>
          <p:spPr bwMode="auto">
            <a:xfrm>
              <a:off x="4710113" y="3800475"/>
              <a:ext cx="1136650" cy="1127125"/>
            </a:xfrm>
            <a:custGeom>
              <a:avLst/>
              <a:gdLst>
                <a:gd name="T0" fmla="*/ 10 w 3158"/>
                <a:gd name="T1" fmla="*/ 1539 h 3130"/>
                <a:gd name="T2" fmla="*/ 1599 w 3158"/>
                <a:gd name="T3" fmla="*/ 13 h 3130"/>
                <a:gd name="T4" fmla="*/ 3148 w 3158"/>
                <a:gd name="T5" fmla="*/ 1584 h 3130"/>
                <a:gd name="T6" fmla="*/ 1560 w 3158"/>
                <a:gd name="T7" fmla="*/ 3116 h 3130"/>
                <a:gd name="T8" fmla="*/ 10 w 3158"/>
                <a:gd name="T9" fmla="*/ 1545 h 3130"/>
                <a:gd name="T10" fmla="*/ 10 w 3158"/>
                <a:gd name="T11" fmla="*/ 1539 h 3130"/>
                <a:gd name="T12" fmla="*/ 711 w 3158"/>
                <a:gd name="T13" fmla="*/ 1553 h 3130"/>
                <a:gd name="T14" fmla="*/ 1568 w 3158"/>
                <a:gd name="T15" fmla="*/ 2456 h 3130"/>
                <a:gd name="T16" fmla="*/ 2446 w 3158"/>
                <a:gd name="T17" fmla="*/ 1570 h 3130"/>
                <a:gd name="T18" fmla="*/ 1591 w 3158"/>
                <a:gd name="T19" fmla="*/ 662 h 3130"/>
                <a:gd name="T20" fmla="*/ 712 w 3158"/>
                <a:gd name="T21" fmla="*/ 1548 h 3130"/>
                <a:gd name="T22" fmla="*/ 711 w 3158"/>
                <a:gd name="T23" fmla="*/ 1553 h 3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58" h="3130">
                  <a:moveTo>
                    <a:pt x="10" y="1539"/>
                  </a:moveTo>
                  <a:cubicBezTo>
                    <a:pt x="19" y="790"/>
                    <a:pt x="578" y="0"/>
                    <a:pt x="1599" y="13"/>
                  </a:cubicBezTo>
                  <a:cubicBezTo>
                    <a:pt x="2619" y="26"/>
                    <a:pt x="3157" y="830"/>
                    <a:pt x="3148" y="1584"/>
                  </a:cubicBezTo>
                  <a:cubicBezTo>
                    <a:pt x="3138" y="2341"/>
                    <a:pt x="2579" y="3129"/>
                    <a:pt x="1560" y="3116"/>
                  </a:cubicBezTo>
                  <a:cubicBezTo>
                    <a:pt x="539" y="3104"/>
                    <a:pt x="0" y="2302"/>
                    <a:pt x="10" y="1545"/>
                  </a:cubicBezTo>
                  <a:lnTo>
                    <a:pt x="10" y="1539"/>
                  </a:lnTo>
                  <a:close/>
                  <a:moveTo>
                    <a:pt x="711" y="1553"/>
                  </a:moveTo>
                  <a:cubicBezTo>
                    <a:pt x="705" y="2065"/>
                    <a:pt x="1089" y="2451"/>
                    <a:pt x="1568" y="2456"/>
                  </a:cubicBezTo>
                  <a:cubicBezTo>
                    <a:pt x="2047" y="2462"/>
                    <a:pt x="2440" y="2087"/>
                    <a:pt x="2446" y="1570"/>
                  </a:cubicBezTo>
                  <a:cubicBezTo>
                    <a:pt x="2453" y="1054"/>
                    <a:pt x="2070" y="669"/>
                    <a:pt x="1591" y="662"/>
                  </a:cubicBezTo>
                  <a:cubicBezTo>
                    <a:pt x="1112" y="656"/>
                    <a:pt x="718" y="1032"/>
                    <a:pt x="712" y="1548"/>
                  </a:cubicBezTo>
                  <a:lnTo>
                    <a:pt x="711" y="15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8" name="Freeform 2">
              <a:extLst>
                <a:ext uri="{FF2B5EF4-FFF2-40B4-BE49-F238E27FC236}">
                  <a16:creationId xmlns:a16="http://schemas.microsoft.com/office/drawing/2014/main" id="{4A9FD868-915F-7D43-BAF8-EECB1B918C91}"/>
                </a:ext>
              </a:extLst>
            </p:cNvPr>
            <p:cNvSpPr>
              <a:spLocks noChangeArrowheads="1"/>
            </p:cNvSpPr>
            <p:nvPr/>
          </p:nvSpPr>
          <p:spPr bwMode="auto">
            <a:xfrm>
              <a:off x="5969000" y="3567113"/>
              <a:ext cx="455613" cy="1338262"/>
            </a:xfrm>
            <a:custGeom>
              <a:avLst/>
              <a:gdLst>
                <a:gd name="T0" fmla="*/ 971 w 1264"/>
                <a:gd name="T1" fmla="*/ 3165 h 3717"/>
                <a:gd name="T2" fmla="*/ 765 w 1264"/>
                <a:gd name="T3" fmla="*/ 2983 h 3717"/>
                <a:gd name="T4" fmla="*/ 803 w 1264"/>
                <a:gd name="T5" fmla="*/ 9 h 3717"/>
                <a:gd name="T6" fmla="*/ 101 w 1264"/>
                <a:gd name="T7" fmla="*/ 0 h 3717"/>
                <a:gd name="T8" fmla="*/ 64 w 1264"/>
                <a:gd name="T9" fmla="*/ 2965 h 3717"/>
                <a:gd name="T10" fmla="*/ 696 w 1264"/>
                <a:gd name="T11" fmla="*/ 3708 h 3717"/>
                <a:gd name="T12" fmla="*/ 696 w 1264"/>
                <a:gd name="T13" fmla="*/ 3709 h 3717"/>
                <a:gd name="T14" fmla="*/ 1256 w 1264"/>
                <a:gd name="T15" fmla="*/ 3716 h 3717"/>
                <a:gd name="T16" fmla="*/ 1263 w 1264"/>
                <a:gd name="T17" fmla="*/ 3168 h 3717"/>
                <a:gd name="T18" fmla="*/ 971 w 1264"/>
                <a:gd name="T19" fmla="*/ 3165 h 3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4" h="3717">
                  <a:moveTo>
                    <a:pt x="971" y="3165"/>
                  </a:moveTo>
                  <a:cubicBezTo>
                    <a:pt x="971" y="3165"/>
                    <a:pt x="768" y="3164"/>
                    <a:pt x="765" y="2983"/>
                  </a:cubicBezTo>
                  <a:lnTo>
                    <a:pt x="803" y="9"/>
                  </a:lnTo>
                  <a:lnTo>
                    <a:pt x="101" y="0"/>
                  </a:lnTo>
                  <a:lnTo>
                    <a:pt x="64" y="2965"/>
                  </a:lnTo>
                  <a:cubicBezTo>
                    <a:pt x="64" y="2965"/>
                    <a:pt x="0" y="3699"/>
                    <a:pt x="696" y="3708"/>
                  </a:cubicBezTo>
                  <a:lnTo>
                    <a:pt x="696" y="3709"/>
                  </a:lnTo>
                  <a:lnTo>
                    <a:pt x="1256" y="3716"/>
                  </a:lnTo>
                  <a:lnTo>
                    <a:pt x="1263" y="3168"/>
                  </a:lnTo>
                  <a:lnTo>
                    <a:pt x="971" y="31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9" name="Freeform 3">
              <a:extLst>
                <a:ext uri="{FF2B5EF4-FFF2-40B4-BE49-F238E27FC236}">
                  <a16:creationId xmlns:a16="http://schemas.microsoft.com/office/drawing/2014/main" id="{E2C2C93F-E601-3C48-8809-4CD42B34EE6D}"/>
                </a:ext>
              </a:extLst>
            </p:cNvPr>
            <p:cNvSpPr>
              <a:spLocks noChangeArrowheads="1"/>
            </p:cNvSpPr>
            <p:nvPr/>
          </p:nvSpPr>
          <p:spPr bwMode="auto">
            <a:xfrm>
              <a:off x="3562350" y="3786188"/>
              <a:ext cx="1069975" cy="1127125"/>
            </a:xfrm>
            <a:custGeom>
              <a:avLst/>
              <a:gdLst>
                <a:gd name="T0" fmla="*/ 2366 w 2971"/>
                <a:gd name="T1" fmla="*/ 1976 h 3132"/>
                <a:gd name="T2" fmla="*/ 1569 w 2971"/>
                <a:gd name="T3" fmla="*/ 2468 h 3132"/>
                <a:gd name="T4" fmla="*/ 716 w 2971"/>
                <a:gd name="T5" fmla="*/ 1556 h 3132"/>
                <a:gd name="T6" fmla="*/ 966 w 2971"/>
                <a:gd name="T7" fmla="*/ 910 h 3132"/>
                <a:gd name="T8" fmla="*/ 1593 w 2971"/>
                <a:gd name="T9" fmla="*/ 667 h 3132"/>
                <a:gd name="T10" fmla="*/ 2376 w 2971"/>
                <a:gd name="T11" fmla="*/ 1201 h 3132"/>
                <a:gd name="T12" fmla="*/ 2970 w 2971"/>
                <a:gd name="T13" fmla="*/ 871 h 3132"/>
                <a:gd name="T14" fmla="*/ 1576 w 2971"/>
                <a:gd name="T15" fmla="*/ 12 h 3132"/>
                <a:gd name="T16" fmla="*/ 11 w 2971"/>
                <a:gd name="T17" fmla="*/ 1545 h 3132"/>
                <a:gd name="T18" fmla="*/ 1559 w 2971"/>
                <a:gd name="T19" fmla="*/ 3123 h 3132"/>
                <a:gd name="T20" fmla="*/ 2950 w 2971"/>
                <a:gd name="T21" fmla="*/ 2314 h 3132"/>
                <a:gd name="T22" fmla="*/ 2379 w 2971"/>
                <a:gd name="T23" fmla="*/ 1977 h 3132"/>
                <a:gd name="T24" fmla="*/ 2366 w 2971"/>
                <a:gd name="T25" fmla="*/ 1976 h 3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1" h="3132">
                  <a:moveTo>
                    <a:pt x="2366" y="1976"/>
                  </a:moveTo>
                  <a:cubicBezTo>
                    <a:pt x="2256" y="2216"/>
                    <a:pt x="2006" y="2472"/>
                    <a:pt x="1569" y="2468"/>
                  </a:cubicBezTo>
                  <a:cubicBezTo>
                    <a:pt x="1072" y="2462"/>
                    <a:pt x="710" y="2081"/>
                    <a:pt x="716" y="1556"/>
                  </a:cubicBezTo>
                  <a:cubicBezTo>
                    <a:pt x="720" y="1300"/>
                    <a:pt x="815" y="1064"/>
                    <a:pt x="966" y="910"/>
                  </a:cubicBezTo>
                  <a:cubicBezTo>
                    <a:pt x="1138" y="742"/>
                    <a:pt x="1337" y="657"/>
                    <a:pt x="1593" y="667"/>
                  </a:cubicBezTo>
                  <a:cubicBezTo>
                    <a:pt x="1976" y="670"/>
                    <a:pt x="2254" y="891"/>
                    <a:pt x="2376" y="1201"/>
                  </a:cubicBezTo>
                  <a:lnTo>
                    <a:pt x="2970" y="871"/>
                  </a:lnTo>
                  <a:cubicBezTo>
                    <a:pt x="2716" y="350"/>
                    <a:pt x="2184" y="19"/>
                    <a:pt x="1576" y="12"/>
                  </a:cubicBezTo>
                  <a:cubicBezTo>
                    <a:pt x="696" y="0"/>
                    <a:pt x="22" y="683"/>
                    <a:pt x="11" y="1545"/>
                  </a:cubicBezTo>
                  <a:cubicBezTo>
                    <a:pt x="0" y="2384"/>
                    <a:pt x="634" y="3111"/>
                    <a:pt x="1559" y="3123"/>
                  </a:cubicBezTo>
                  <a:cubicBezTo>
                    <a:pt x="2184" y="3131"/>
                    <a:pt x="2691" y="2793"/>
                    <a:pt x="2950" y="2314"/>
                  </a:cubicBezTo>
                  <a:lnTo>
                    <a:pt x="2379" y="1977"/>
                  </a:lnTo>
                  <a:lnTo>
                    <a:pt x="2366" y="19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0" name="Freeform 4">
              <a:extLst>
                <a:ext uri="{FF2B5EF4-FFF2-40B4-BE49-F238E27FC236}">
                  <a16:creationId xmlns:a16="http://schemas.microsoft.com/office/drawing/2014/main" id="{50FC3C31-2A24-DB42-9F3C-765CBA58CC69}"/>
                </a:ext>
              </a:extLst>
            </p:cNvPr>
            <p:cNvSpPr>
              <a:spLocks noChangeArrowheads="1"/>
            </p:cNvSpPr>
            <p:nvPr/>
          </p:nvSpPr>
          <p:spPr bwMode="auto">
            <a:xfrm>
              <a:off x="6546850" y="3575050"/>
              <a:ext cx="492125" cy="1338263"/>
            </a:xfrm>
            <a:custGeom>
              <a:avLst/>
              <a:gdLst>
                <a:gd name="T0" fmla="*/ 960 w 1365"/>
                <a:gd name="T1" fmla="*/ 3164 h 3718"/>
                <a:gd name="T2" fmla="*/ 753 w 1365"/>
                <a:gd name="T3" fmla="*/ 2983 h 3718"/>
                <a:gd name="T4" fmla="*/ 773 w 1365"/>
                <a:gd name="T5" fmla="*/ 1401 h 3718"/>
                <a:gd name="T6" fmla="*/ 1336 w 1365"/>
                <a:gd name="T7" fmla="*/ 1408 h 3718"/>
                <a:gd name="T8" fmla="*/ 1343 w 1365"/>
                <a:gd name="T9" fmla="*/ 860 h 3718"/>
                <a:gd name="T10" fmla="*/ 780 w 1365"/>
                <a:gd name="T11" fmla="*/ 853 h 3718"/>
                <a:gd name="T12" fmla="*/ 791 w 1365"/>
                <a:gd name="T13" fmla="*/ 9 h 3718"/>
                <a:gd name="T14" fmla="*/ 89 w 1365"/>
                <a:gd name="T15" fmla="*/ 0 h 3718"/>
                <a:gd name="T16" fmla="*/ 51 w 1365"/>
                <a:gd name="T17" fmla="*/ 2965 h 3718"/>
                <a:gd name="T18" fmla="*/ 683 w 1365"/>
                <a:gd name="T19" fmla="*/ 3708 h 3718"/>
                <a:gd name="T20" fmla="*/ 684 w 1365"/>
                <a:gd name="T21" fmla="*/ 3708 h 3718"/>
                <a:gd name="T22" fmla="*/ 1357 w 1365"/>
                <a:gd name="T23" fmla="*/ 3717 h 3718"/>
                <a:gd name="T24" fmla="*/ 1364 w 1365"/>
                <a:gd name="T25" fmla="*/ 3169 h 3718"/>
                <a:gd name="T26" fmla="*/ 960 w 1365"/>
                <a:gd name="T27" fmla="*/ 3164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5" h="3718">
                  <a:moveTo>
                    <a:pt x="960" y="3164"/>
                  </a:moveTo>
                  <a:cubicBezTo>
                    <a:pt x="960" y="3164"/>
                    <a:pt x="756" y="3164"/>
                    <a:pt x="753" y="2983"/>
                  </a:cubicBezTo>
                  <a:lnTo>
                    <a:pt x="773" y="1401"/>
                  </a:lnTo>
                  <a:lnTo>
                    <a:pt x="1336" y="1408"/>
                  </a:lnTo>
                  <a:lnTo>
                    <a:pt x="1343" y="860"/>
                  </a:lnTo>
                  <a:lnTo>
                    <a:pt x="780" y="853"/>
                  </a:lnTo>
                  <a:lnTo>
                    <a:pt x="791" y="9"/>
                  </a:lnTo>
                  <a:lnTo>
                    <a:pt x="89" y="0"/>
                  </a:lnTo>
                  <a:lnTo>
                    <a:pt x="51" y="2965"/>
                  </a:lnTo>
                  <a:cubicBezTo>
                    <a:pt x="51" y="2965"/>
                    <a:pt x="0" y="3701"/>
                    <a:pt x="683" y="3708"/>
                  </a:cubicBezTo>
                  <a:lnTo>
                    <a:pt x="684" y="3708"/>
                  </a:lnTo>
                  <a:lnTo>
                    <a:pt x="1357" y="3717"/>
                  </a:lnTo>
                  <a:lnTo>
                    <a:pt x="1364" y="3169"/>
                  </a:lnTo>
                  <a:lnTo>
                    <a:pt x="960" y="31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24398584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Title Slide v4">
    <p:spTree>
      <p:nvGrpSpPr>
        <p:cNvPr id="1" name=""/>
        <p:cNvGrpSpPr/>
        <p:nvPr/>
      </p:nvGrpSpPr>
      <p:grpSpPr>
        <a:xfrm>
          <a:off x="0" y="0"/>
          <a:ext cx="0" cy="0"/>
          <a:chOff x="0" y="0"/>
          <a:chExt cx="0" cy="0"/>
        </a:xfrm>
      </p:grpSpPr>
      <p:sp>
        <p:nvSpPr>
          <p:cNvPr id="24" name="Picture Placeholder 23">
            <a:extLst>
              <a:ext uri="{FF2B5EF4-FFF2-40B4-BE49-F238E27FC236}">
                <a16:creationId xmlns:a16="http://schemas.microsoft.com/office/drawing/2014/main" id="{C8FDB0C9-4DDE-4FAC-95F1-8B7128740DE2}"/>
              </a:ext>
            </a:extLst>
          </p:cNvPr>
          <p:cNvSpPr>
            <a:spLocks noGrp="1"/>
          </p:cNvSpPr>
          <p:nvPr>
            <p:ph type="pic" sz="quarter" idx="12"/>
          </p:nvPr>
        </p:nvSpPr>
        <p:spPr>
          <a:xfrm>
            <a:off x="7042068" y="0"/>
            <a:ext cx="5149932" cy="5878512"/>
          </a:xfrm>
          <a:custGeom>
            <a:avLst/>
            <a:gdLst>
              <a:gd name="connsiteX0" fmla="*/ 2444335 w 5157600"/>
              <a:gd name="connsiteY0" fmla="*/ 0 h 5896326"/>
              <a:gd name="connsiteX1" fmla="*/ 5157600 w 5157600"/>
              <a:gd name="connsiteY1" fmla="*/ 0 h 5896326"/>
              <a:gd name="connsiteX2" fmla="*/ 5157600 w 5157600"/>
              <a:gd name="connsiteY2" fmla="*/ 4960604 h 5896326"/>
              <a:gd name="connsiteX3" fmla="*/ 5139606 w 5157600"/>
              <a:gd name="connsiteY3" fmla="*/ 5007064 h 5896326"/>
              <a:gd name="connsiteX4" fmla="*/ 4188448 w 5157600"/>
              <a:gd name="connsiteY4" fmla="*/ 5523262 h 5896326"/>
              <a:gd name="connsiteX5" fmla="*/ 4067914 w 5157600"/>
              <a:gd name="connsiteY5" fmla="*/ 5573954 h 5896326"/>
              <a:gd name="connsiteX6" fmla="*/ 3868375 w 5157600"/>
              <a:gd name="connsiteY6" fmla="*/ 5672344 h 5896326"/>
              <a:gd name="connsiteX7" fmla="*/ 2784516 w 5157600"/>
              <a:gd name="connsiteY7" fmla="*/ 5896326 h 5896326"/>
              <a:gd name="connsiteX8" fmla="*/ 0 w 5157600"/>
              <a:gd name="connsiteY8" fmla="*/ 3046134 h 5896326"/>
              <a:gd name="connsiteX9" fmla="*/ 1457250 w 5157600"/>
              <a:gd name="connsiteY9" fmla="*/ 539945 h 5896326"/>
              <a:gd name="connsiteX10" fmla="*/ 1507759 w 5157600"/>
              <a:gd name="connsiteY10" fmla="*/ 515040 h 5896326"/>
              <a:gd name="connsiteX11" fmla="*/ 1583909 w 5157600"/>
              <a:gd name="connsiteY11" fmla="*/ 467770 h 5896326"/>
              <a:gd name="connsiteX12" fmla="*/ 2444335 w 5157600"/>
              <a:gd name="connsiteY12" fmla="*/ 0 h 5896326"/>
              <a:gd name="connsiteX0" fmla="*/ 2444335 w 5157600"/>
              <a:gd name="connsiteY0" fmla="*/ 0 h 5896326"/>
              <a:gd name="connsiteX1" fmla="*/ 5157600 w 5157600"/>
              <a:gd name="connsiteY1" fmla="*/ 0 h 5896326"/>
              <a:gd name="connsiteX2" fmla="*/ 5157600 w 5157600"/>
              <a:gd name="connsiteY2" fmla="*/ 4960604 h 5896326"/>
              <a:gd name="connsiteX3" fmla="*/ 5139606 w 5157600"/>
              <a:gd name="connsiteY3" fmla="*/ 5007064 h 5896326"/>
              <a:gd name="connsiteX4" fmla="*/ 4188448 w 5157600"/>
              <a:gd name="connsiteY4" fmla="*/ 5523262 h 5896326"/>
              <a:gd name="connsiteX5" fmla="*/ 4067914 w 5157600"/>
              <a:gd name="connsiteY5" fmla="*/ 5573954 h 5896326"/>
              <a:gd name="connsiteX6" fmla="*/ 3868375 w 5157600"/>
              <a:gd name="connsiteY6" fmla="*/ 5672344 h 5896326"/>
              <a:gd name="connsiteX7" fmla="*/ 2784516 w 5157600"/>
              <a:gd name="connsiteY7" fmla="*/ 5896326 h 5896326"/>
              <a:gd name="connsiteX8" fmla="*/ 0 w 5157600"/>
              <a:gd name="connsiteY8" fmla="*/ 3046134 h 5896326"/>
              <a:gd name="connsiteX9" fmla="*/ 1457250 w 5157600"/>
              <a:gd name="connsiteY9" fmla="*/ 539945 h 5896326"/>
              <a:gd name="connsiteX10" fmla="*/ 1507759 w 5157600"/>
              <a:gd name="connsiteY10" fmla="*/ 515040 h 5896326"/>
              <a:gd name="connsiteX11" fmla="*/ 1583909 w 5157600"/>
              <a:gd name="connsiteY11" fmla="*/ 467770 h 5896326"/>
              <a:gd name="connsiteX12" fmla="*/ 2444335 w 5157600"/>
              <a:gd name="connsiteY12" fmla="*/ 0 h 5896326"/>
              <a:gd name="connsiteX0" fmla="*/ 2444335 w 5157600"/>
              <a:gd name="connsiteY0" fmla="*/ 0 h 5896326"/>
              <a:gd name="connsiteX1" fmla="*/ 5157600 w 5157600"/>
              <a:gd name="connsiteY1" fmla="*/ 0 h 5896326"/>
              <a:gd name="connsiteX2" fmla="*/ 5157600 w 5157600"/>
              <a:gd name="connsiteY2" fmla="*/ 4960604 h 5896326"/>
              <a:gd name="connsiteX3" fmla="*/ 5139606 w 5157600"/>
              <a:gd name="connsiteY3" fmla="*/ 5007064 h 5896326"/>
              <a:gd name="connsiteX4" fmla="*/ 4188448 w 5157600"/>
              <a:gd name="connsiteY4" fmla="*/ 5523262 h 5896326"/>
              <a:gd name="connsiteX5" fmla="*/ 4067914 w 5157600"/>
              <a:gd name="connsiteY5" fmla="*/ 5573954 h 5896326"/>
              <a:gd name="connsiteX6" fmla="*/ 3868375 w 5157600"/>
              <a:gd name="connsiteY6" fmla="*/ 5672344 h 5896326"/>
              <a:gd name="connsiteX7" fmla="*/ 2784516 w 5157600"/>
              <a:gd name="connsiteY7" fmla="*/ 5896326 h 5896326"/>
              <a:gd name="connsiteX8" fmla="*/ 0 w 5157600"/>
              <a:gd name="connsiteY8" fmla="*/ 3046134 h 5896326"/>
              <a:gd name="connsiteX9" fmla="*/ 1457250 w 5157600"/>
              <a:gd name="connsiteY9" fmla="*/ 539945 h 5896326"/>
              <a:gd name="connsiteX10" fmla="*/ 1507759 w 5157600"/>
              <a:gd name="connsiteY10" fmla="*/ 515040 h 5896326"/>
              <a:gd name="connsiteX11" fmla="*/ 1583909 w 5157600"/>
              <a:gd name="connsiteY11" fmla="*/ 467770 h 5896326"/>
              <a:gd name="connsiteX12" fmla="*/ 2444335 w 5157600"/>
              <a:gd name="connsiteY12" fmla="*/ 0 h 5896326"/>
              <a:gd name="connsiteX0" fmla="*/ 2444335 w 5157600"/>
              <a:gd name="connsiteY0" fmla="*/ 0 h 5896326"/>
              <a:gd name="connsiteX1" fmla="*/ 5157600 w 5157600"/>
              <a:gd name="connsiteY1" fmla="*/ 0 h 5896326"/>
              <a:gd name="connsiteX2" fmla="*/ 5157600 w 5157600"/>
              <a:gd name="connsiteY2" fmla="*/ 4960604 h 5896326"/>
              <a:gd name="connsiteX3" fmla="*/ 5139606 w 5157600"/>
              <a:gd name="connsiteY3" fmla="*/ 5007064 h 5896326"/>
              <a:gd name="connsiteX4" fmla="*/ 4188448 w 5157600"/>
              <a:gd name="connsiteY4" fmla="*/ 5523262 h 5896326"/>
              <a:gd name="connsiteX5" fmla="*/ 4067914 w 5157600"/>
              <a:gd name="connsiteY5" fmla="*/ 5573954 h 5896326"/>
              <a:gd name="connsiteX6" fmla="*/ 3868375 w 5157600"/>
              <a:gd name="connsiteY6" fmla="*/ 5672344 h 5896326"/>
              <a:gd name="connsiteX7" fmla="*/ 2784516 w 5157600"/>
              <a:gd name="connsiteY7" fmla="*/ 5896326 h 5896326"/>
              <a:gd name="connsiteX8" fmla="*/ 0 w 5157600"/>
              <a:gd name="connsiteY8" fmla="*/ 3046134 h 5896326"/>
              <a:gd name="connsiteX9" fmla="*/ 1457250 w 5157600"/>
              <a:gd name="connsiteY9" fmla="*/ 539945 h 5896326"/>
              <a:gd name="connsiteX10" fmla="*/ 1507759 w 5157600"/>
              <a:gd name="connsiteY10" fmla="*/ 510278 h 5896326"/>
              <a:gd name="connsiteX11" fmla="*/ 1583909 w 5157600"/>
              <a:gd name="connsiteY11" fmla="*/ 467770 h 5896326"/>
              <a:gd name="connsiteX12" fmla="*/ 2444335 w 5157600"/>
              <a:gd name="connsiteY12" fmla="*/ 0 h 58963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57600" h="5896326">
                <a:moveTo>
                  <a:pt x="2444335" y="0"/>
                </a:moveTo>
                <a:lnTo>
                  <a:pt x="5157600" y="0"/>
                </a:lnTo>
                <a:lnTo>
                  <a:pt x="5157600" y="4960604"/>
                </a:lnTo>
                <a:lnTo>
                  <a:pt x="5139606" y="5007064"/>
                </a:lnTo>
                <a:cubicBezTo>
                  <a:pt x="4768181" y="5217429"/>
                  <a:pt x="4494388" y="5383740"/>
                  <a:pt x="4188448" y="5523262"/>
                </a:cubicBezTo>
                <a:lnTo>
                  <a:pt x="4067914" y="5573954"/>
                </a:lnTo>
                <a:lnTo>
                  <a:pt x="3868375" y="5672344"/>
                </a:lnTo>
                <a:cubicBezTo>
                  <a:pt x="3535241" y="5816572"/>
                  <a:pt x="3168978" y="5896326"/>
                  <a:pt x="2784516" y="5896326"/>
                </a:cubicBezTo>
                <a:cubicBezTo>
                  <a:pt x="1246670" y="5896326"/>
                  <a:pt x="0" y="4620252"/>
                  <a:pt x="0" y="3046134"/>
                </a:cubicBezTo>
                <a:cubicBezTo>
                  <a:pt x="0" y="1963928"/>
                  <a:pt x="589247" y="1022594"/>
                  <a:pt x="1457250" y="539945"/>
                </a:cubicBezTo>
                <a:lnTo>
                  <a:pt x="1507759" y="510278"/>
                </a:lnTo>
                <a:cubicBezTo>
                  <a:pt x="1596642" y="456421"/>
                  <a:pt x="1558526" y="483527"/>
                  <a:pt x="1583909" y="467770"/>
                </a:cubicBezTo>
                <a:cubicBezTo>
                  <a:pt x="2298151" y="97534"/>
                  <a:pt x="2181934" y="152947"/>
                  <a:pt x="2444335" y="0"/>
                </a:cubicBezTo>
                <a:close/>
              </a:path>
            </a:pathLst>
          </a:custGeom>
          <a:solidFill>
            <a:schemeClr val="accent1">
              <a:alpha val="15000"/>
            </a:schemeClr>
          </a:solidFill>
        </p:spPr>
        <p:txBody>
          <a:bodyPr wrap="square">
            <a:noAutofit/>
          </a:bodyPr>
          <a:lstStyle>
            <a:lvl1pPr algn="r">
              <a:defRPr/>
            </a:lvl1pPr>
          </a:lstStyle>
          <a:p>
            <a:endParaRPr lang="en-GB" dirty="0"/>
          </a:p>
        </p:txBody>
      </p:sp>
      <p:sp>
        <p:nvSpPr>
          <p:cNvPr id="2" name="Title 1"/>
          <p:cNvSpPr>
            <a:spLocks noGrp="1"/>
          </p:cNvSpPr>
          <p:nvPr>
            <p:ph type="ctrTitle" hasCustomPrompt="1"/>
          </p:nvPr>
        </p:nvSpPr>
        <p:spPr>
          <a:xfrm>
            <a:off x="1875600" y="2286000"/>
            <a:ext cx="7306500" cy="1884008"/>
          </a:xfrm>
        </p:spPr>
        <p:txBody>
          <a:bodyPr/>
          <a:lstStyle>
            <a:lvl1pPr algn="l">
              <a:lnSpc>
                <a:spcPts val="6630"/>
              </a:lnSpc>
              <a:defRPr sz="6630"/>
            </a:lvl1pPr>
          </a:lstStyle>
          <a:p>
            <a:r>
              <a:rPr lang="en-GB" dirty="0"/>
              <a:t>Title Slide</a:t>
            </a:r>
            <a:endParaRPr lang="en-GB" noProof="0" dirty="0"/>
          </a:p>
        </p:txBody>
      </p:sp>
      <p:sp>
        <p:nvSpPr>
          <p:cNvPr id="3" name="Subtitle 2"/>
          <p:cNvSpPr>
            <a:spLocks noGrp="1"/>
          </p:cNvSpPr>
          <p:nvPr>
            <p:ph type="subTitle" idx="1"/>
          </p:nvPr>
        </p:nvSpPr>
        <p:spPr>
          <a:xfrm>
            <a:off x="1875600" y="4170008"/>
            <a:ext cx="7306500" cy="226795"/>
          </a:xfrm>
        </p:spPr>
        <p:txBody>
          <a:bodyPr/>
          <a:lstStyle>
            <a:lvl1pPr marL="0" indent="0" algn="l">
              <a:lnSpc>
                <a:spcPts val="1590"/>
              </a:lnSpc>
              <a:spcAft>
                <a:spcPts val="0"/>
              </a:spcAft>
              <a:buNone/>
              <a:defRPr sz="141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a:t>Click to edit Master subtitle style</a:t>
            </a:r>
            <a:endParaRPr lang="en-GB" noProof="0" dirty="0"/>
          </a:p>
        </p:txBody>
      </p:sp>
      <p:sp>
        <p:nvSpPr>
          <p:cNvPr id="4" name="Date Placeholder 3"/>
          <p:cNvSpPr>
            <a:spLocks noGrp="1"/>
          </p:cNvSpPr>
          <p:nvPr>
            <p:ph type="dt" sz="half" idx="10"/>
          </p:nvPr>
        </p:nvSpPr>
        <p:spPr>
          <a:xfrm>
            <a:off x="1875600" y="4414345"/>
            <a:ext cx="3996000" cy="288000"/>
          </a:xfrm>
        </p:spPr>
        <p:txBody>
          <a:bodyPr anchor="t" anchorCtr="0"/>
          <a:lstStyle>
            <a:lvl1pPr>
              <a:lnSpc>
                <a:spcPts val="1590"/>
              </a:lnSpc>
              <a:defRPr sz="1410">
                <a:solidFill>
                  <a:schemeClr val="accent2"/>
                </a:solidFill>
              </a:defRPr>
            </a:lvl1pPr>
          </a:lstStyle>
          <a:p>
            <a:pPr>
              <a:lnSpc>
                <a:spcPts val="1590"/>
              </a:lnSpc>
            </a:pPr>
            <a:fld id="{1C246972-E14A-4730-BC91-3E95C3F7192F}" type="datetime3">
              <a:rPr lang="en-US" smtClean="0"/>
              <a:t>22 December 2023</a:t>
            </a:fld>
            <a:endParaRPr lang="en-GB" dirty="0"/>
          </a:p>
        </p:txBody>
      </p:sp>
      <p:grpSp>
        <p:nvGrpSpPr>
          <p:cNvPr id="9" name="Group 8">
            <a:extLst>
              <a:ext uri="{FF2B5EF4-FFF2-40B4-BE49-F238E27FC236}">
                <a16:creationId xmlns:a16="http://schemas.microsoft.com/office/drawing/2014/main" id="{47D0206B-82CB-E348-8A78-9CA3278CF4AE}"/>
              </a:ext>
            </a:extLst>
          </p:cNvPr>
          <p:cNvGrpSpPr/>
          <p:nvPr userDrawn="1"/>
        </p:nvGrpSpPr>
        <p:grpSpPr>
          <a:xfrm>
            <a:off x="471600" y="443753"/>
            <a:ext cx="1412891" cy="552898"/>
            <a:chOff x="3562350" y="3567113"/>
            <a:chExt cx="3476625" cy="1360487"/>
          </a:xfrm>
          <a:solidFill>
            <a:schemeClr val="accent1"/>
          </a:solidFill>
        </p:grpSpPr>
        <p:sp>
          <p:nvSpPr>
            <p:cNvPr id="10" name="Freeform 1">
              <a:extLst>
                <a:ext uri="{FF2B5EF4-FFF2-40B4-BE49-F238E27FC236}">
                  <a16:creationId xmlns:a16="http://schemas.microsoft.com/office/drawing/2014/main" id="{A91CD9E0-78A1-E844-9E19-A98DCA3FDD23}"/>
                </a:ext>
              </a:extLst>
            </p:cNvPr>
            <p:cNvSpPr>
              <a:spLocks noChangeArrowheads="1"/>
            </p:cNvSpPr>
            <p:nvPr/>
          </p:nvSpPr>
          <p:spPr bwMode="auto">
            <a:xfrm>
              <a:off x="4710113" y="3800475"/>
              <a:ext cx="1136650" cy="1127125"/>
            </a:xfrm>
            <a:custGeom>
              <a:avLst/>
              <a:gdLst>
                <a:gd name="T0" fmla="*/ 10 w 3158"/>
                <a:gd name="T1" fmla="*/ 1539 h 3130"/>
                <a:gd name="T2" fmla="*/ 1599 w 3158"/>
                <a:gd name="T3" fmla="*/ 13 h 3130"/>
                <a:gd name="T4" fmla="*/ 3148 w 3158"/>
                <a:gd name="T5" fmla="*/ 1584 h 3130"/>
                <a:gd name="T6" fmla="*/ 1560 w 3158"/>
                <a:gd name="T7" fmla="*/ 3116 h 3130"/>
                <a:gd name="T8" fmla="*/ 10 w 3158"/>
                <a:gd name="T9" fmla="*/ 1545 h 3130"/>
                <a:gd name="T10" fmla="*/ 10 w 3158"/>
                <a:gd name="T11" fmla="*/ 1539 h 3130"/>
                <a:gd name="T12" fmla="*/ 711 w 3158"/>
                <a:gd name="T13" fmla="*/ 1553 h 3130"/>
                <a:gd name="T14" fmla="*/ 1568 w 3158"/>
                <a:gd name="T15" fmla="*/ 2456 h 3130"/>
                <a:gd name="T16" fmla="*/ 2446 w 3158"/>
                <a:gd name="T17" fmla="*/ 1570 h 3130"/>
                <a:gd name="T18" fmla="*/ 1591 w 3158"/>
                <a:gd name="T19" fmla="*/ 662 h 3130"/>
                <a:gd name="T20" fmla="*/ 712 w 3158"/>
                <a:gd name="T21" fmla="*/ 1548 h 3130"/>
                <a:gd name="T22" fmla="*/ 711 w 3158"/>
                <a:gd name="T23" fmla="*/ 1553 h 3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158" h="3130">
                  <a:moveTo>
                    <a:pt x="10" y="1539"/>
                  </a:moveTo>
                  <a:cubicBezTo>
                    <a:pt x="19" y="790"/>
                    <a:pt x="578" y="0"/>
                    <a:pt x="1599" y="13"/>
                  </a:cubicBezTo>
                  <a:cubicBezTo>
                    <a:pt x="2619" y="26"/>
                    <a:pt x="3157" y="830"/>
                    <a:pt x="3148" y="1584"/>
                  </a:cubicBezTo>
                  <a:cubicBezTo>
                    <a:pt x="3138" y="2341"/>
                    <a:pt x="2579" y="3129"/>
                    <a:pt x="1560" y="3116"/>
                  </a:cubicBezTo>
                  <a:cubicBezTo>
                    <a:pt x="539" y="3104"/>
                    <a:pt x="0" y="2302"/>
                    <a:pt x="10" y="1545"/>
                  </a:cubicBezTo>
                  <a:lnTo>
                    <a:pt x="10" y="1539"/>
                  </a:lnTo>
                  <a:close/>
                  <a:moveTo>
                    <a:pt x="711" y="1553"/>
                  </a:moveTo>
                  <a:cubicBezTo>
                    <a:pt x="705" y="2065"/>
                    <a:pt x="1089" y="2451"/>
                    <a:pt x="1568" y="2456"/>
                  </a:cubicBezTo>
                  <a:cubicBezTo>
                    <a:pt x="2047" y="2462"/>
                    <a:pt x="2440" y="2087"/>
                    <a:pt x="2446" y="1570"/>
                  </a:cubicBezTo>
                  <a:cubicBezTo>
                    <a:pt x="2453" y="1054"/>
                    <a:pt x="2070" y="669"/>
                    <a:pt x="1591" y="662"/>
                  </a:cubicBezTo>
                  <a:cubicBezTo>
                    <a:pt x="1112" y="656"/>
                    <a:pt x="718" y="1032"/>
                    <a:pt x="712" y="1548"/>
                  </a:cubicBezTo>
                  <a:lnTo>
                    <a:pt x="711" y="1553"/>
                  </a:lnTo>
                  <a:close/>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1" name="Freeform 2">
              <a:extLst>
                <a:ext uri="{FF2B5EF4-FFF2-40B4-BE49-F238E27FC236}">
                  <a16:creationId xmlns:a16="http://schemas.microsoft.com/office/drawing/2014/main" id="{60FF600C-3CD7-B443-BBBD-AC259128FF35}"/>
                </a:ext>
              </a:extLst>
            </p:cNvPr>
            <p:cNvSpPr>
              <a:spLocks noChangeArrowheads="1"/>
            </p:cNvSpPr>
            <p:nvPr/>
          </p:nvSpPr>
          <p:spPr bwMode="auto">
            <a:xfrm>
              <a:off x="5969000" y="3567113"/>
              <a:ext cx="455613" cy="1338262"/>
            </a:xfrm>
            <a:custGeom>
              <a:avLst/>
              <a:gdLst>
                <a:gd name="T0" fmla="*/ 971 w 1264"/>
                <a:gd name="T1" fmla="*/ 3165 h 3717"/>
                <a:gd name="T2" fmla="*/ 765 w 1264"/>
                <a:gd name="T3" fmla="*/ 2983 h 3717"/>
                <a:gd name="T4" fmla="*/ 803 w 1264"/>
                <a:gd name="T5" fmla="*/ 9 h 3717"/>
                <a:gd name="T6" fmla="*/ 101 w 1264"/>
                <a:gd name="T7" fmla="*/ 0 h 3717"/>
                <a:gd name="T8" fmla="*/ 64 w 1264"/>
                <a:gd name="T9" fmla="*/ 2965 h 3717"/>
                <a:gd name="T10" fmla="*/ 696 w 1264"/>
                <a:gd name="T11" fmla="*/ 3708 h 3717"/>
                <a:gd name="T12" fmla="*/ 696 w 1264"/>
                <a:gd name="T13" fmla="*/ 3709 h 3717"/>
                <a:gd name="T14" fmla="*/ 1256 w 1264"/>
                <a:gd name="T15" fmla="*/ 3716 h 3717"/>
                <a:gd name="T16" fmla="*/ 1263 w 1264"/>
                <a:gd name="T17" fmla="*/ 3168 h 3717"/>
                <a:gd name="T18" fmla="*/ 971 w 1264"/>
                <a:gd name="T19" fmla="*/ 3165 h 37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64" h="3717">
                  <a:moveTo>
                    <a:pt x="971" y="3165"/>
                  </a:moveTo>
                  <a:cubicBezTo>
                    <a:pt x="971" y="3165"/>
                    <a:pt x="768" y="3164"/>
                    <a:pt x="765" y="2983"/>
                  </a:cubicBezTo>
                  <a:lnTo>
                    <a:pt x="803" y="9"/>
                  </a:lnTo>
                  <a:lnTo>
                    <a:pt x="101" y="0"/>
                  </a:lnTo>
                  <a:lnTo>
                    <a:pt x="64" y="2965"/>
                  </a:lnTo>
                  <a:cubicBezTo>
                    <a:pt x="64" y="2965"/>
                    <a:pt x="0" y="3699"/>
                    <a:pt x="696" y="3708"/>
                  </a:cubicBezTo>
                  <a:lnTo>
                    <a:pt x="696" y="3709"/>
                  </a:lnTo>
                  <a:lnTo>
                    <a:pt x="1256" y="3716"/>
                  </a:lnTo>
                  <a:lnTo>
                    <a:pt x="1263" y="3168"/>
                  </a:lnTo>
                  <a:lnTo>
                    <a:pt x="971" y="3165"/>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2" name="Freeform 3">
              <a:extLst>
                <a:ext uri="{FF2B5EF4-FFF2-40B4-BE49-F238E27FC236}">
                  <a16:creationId xmlns:a16="http://schemas.microsoft.com/office/drawing/2014/main" id="{B80BA92B-2653-FF4E-ABF3-0C30E823BD23}"/>
                </a:ext>
              </a:extLst>
            </p:cNvPr>
            <p:cNvSpPr>
              <a:spLocks noChangeArrowheads="1"/>
            </p:cNvSpPr>
            <p:nvPr/>
          </p:nvSpPr>
          <p:spPr bwMode="auto">
            <a:xfrm>
              <a:off x="3562350" y="3786188"/>
              <a:ext cx="1069975" cy="1127125"/>
            </a:xfrm>
            <a:custGeom>
              <a:avLst/>
              <a:gdLst>
                <a:gd name="T0" fmla="*/ 2366 w 2971"/>
                <a:gd name="T1" fmla="*/ 1976 h 3132"/>
                <a:gd name="T2" fmla="*/ 1569 w 2971"/>
                <a:gd name="T3" fmla="*/ 2468 h 3132"/>
                <a:gd name="T4" fmla="*/ 716 w 2971"/>
                <a:gd name="T5" fmla="*/ 1556 h 3132"/>
                <a:gd name="T6" fmla="*/ 966 w 2971"/>
                <a:gd name="T7" fmla="*/ 910 h 3132"/>
                <a:gd name="T8" fmla="*/ 1593 w 2971"/>
                <a:gd name="T9" fmla="*/ 667 h 3132"/>
                <a:gd name="T10" fmla="*/ 2376 w 2971"/>
                <a:gd name="T11" fmla="*/ 1201 h 3132"/>
                <a:gd name="T12" fmla="*/ 2970 w 2971"/>
                <a:gd name="T13" fmla="*/ 871 h 3132"/>
                <a:gd name="T14" fmla="*/ 1576 w 2971"/>
                <a:gd name="T15" fmla="*/ 12 h 3132"/>
                <a:gd name="T16" fmla="*/ 11 w 2971"/>
                <a:gd name="T17" fmla="*/ 1545 h 3132"/>
                <a:gd name="T18" fmla="*/ 1559 w 2971"/>
                <a:gd name="T19" fmla="*/ 3123 h 3132"/>
                <a:gd name="T20" fmla="*/ 2950 w 2971"/>
                <a:gd name="T21" fmla="*/ 2314 h 3132"/>
                <a:gd name="T22" fmla="*/ 2379 w 2971"/>
                <a:gd name="T23" fmla="*/ 1977 h 3132"/>
                <a:gd name="T24" fmla="*/ 2366 w 2971"/>
                <a:gd name="T25" fmla="*/ 1976 h 3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71" h="3132">
                  <a:moveTo>
                    <a:pt x="2366" y="1976"/>
                  </a:moveTo>
                  <a:cubicBezTo>
                    <a:pt x="2256" y="2216"/>
                    <a:pt x="2006" y="2472"/>
                    <a:pt x="1569" y="2468"/>
                  </a:cubicBezTo>
                  <a:cubicBezTo>
                    <a:pt x="1072" y="2462"/>
                    <a:pt x="710" y="2081"/>
                    <a:pt x="716" y="1556"/>
                  </a:cubicBezTo>
                  <a:cubicBezTo>
                    <a:pt x="720" y="1300"/>
                    <a:pt x="815" y="1064"/>
                    <a:pt x="966" y="910"/>
                  </a:cubicBezTo>
                  <a:cubicBezTo>
                    <a:pt x="1138" y="742"/>
                    <a:pt x="1337" y="657"/>
                    <a:pt x="1593" y="667"/>
                  </a:cubicBezTo>
                  <a:cubicBezTo>
                    <a:pt x="1976" y="670"/>
                    <a:pt x="2254" y="891"/>
                    <a:pt x="2376" y="1201"/>
                  </a:cubicBezTo>
                  <a:lnTo>
                    <a:pt x="2970" y="871"/>
                  </a:lnTo>
                  <a:cubicBezTo>
                    <a:pt x="2716" y="350"/>
                    <a:pt x="2184" y="19"/>
                    <a:pt x="1576" y="12"/>
                  </a:cubicBezTo>
                  <a:cubicBezTo>
                    <a:pt x="696" y="0"/>
                    <a:pt x="22" y="683"/>
                    <a:pt x="11" y="1545"/>
                  </a:cubicBezTo>
                  <a:cubicBezTo>
                    <a:pt x="0" y="2384"/>
                    <a:pt x="634" y="3111"/>
                    <a:pt x="1559" y="3123"/>
                  </a:cubicBezTo>
                  <a:cubicBezTo>
                    <a:pt x="2184" y="3131"/>
                    <a:pt x="2691" y="2793"/>
                    <a:pt x="2950" y="2314"/>
                  </a:cubicBezTo>
                  <a:lnTo>
                    <a:pt x="2379" y="1977"/>
                  </a:lnTo>
                  <a:lnTo>
                    <a:pt x="2366" y="1976"/>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13" name="Freeform 4">
              <a:extLst>
                <a:ext uri="{FF2B5EF4-FFF2-40B4-BE49-F238E27FC236}">
                  <a16:creationId xmlns:a16="http://schemas.microsoft.com/office/drawing/2014/main" id="{66CC0EB8-DD1B-0940-94D2-A50C3B189C76}"/>
                </a:ext>
              </a:extLst>
            </p:cNvPr>
            <p:cNvSpPr>
              <a:spLocks noChangeArrowheads="1"/>
            </p:cNvSpPr>
            <p:nvPr/>
          </p:nvSpPr>
          <p:spPr bwMode="auto">
            <a:xfrm>
              <a:off x="6546850" y="3575050"/>
              <a:ext cx="492125" cy="1338263"/>
            </a:xfrm>
            <a:custGeom>
              <a:avLst/>
              <a:gdLst>
                <a:gd name="T0" fmla="*/ 960 w 1365"/>
                <a:gd name="T1" fmla="*/ 3164 h 3718"/>
                <a:gd name="T2" fmla="*/ 753 w 1365"/>
                <a:gd name="T3" fmla="*/ 2983 h 3718"/>
                <a:gd name="T4" fmla="*/ 773 w 1365"/>
                <a:gd name="T5" fmla="*/ 1401 h 3718"/>
                <a:gd name="T6" fmla="*/ 1336 w 1365"/>
                <a:gd name="T7" fmla="*/ 1408 h 3718"/>
                <a:gd name="T8" fmla="*/ 1343 w 1365"/>
                <a:gd name="T9" fmla="*/ 860 h 3718"/>
                <a:gd name="T10" fmla="*/ 780 w 1365"/>
                <a:gd name="T11" fmla="*/ 853 h 3718"/>
                <a:gd name="T12" fmla="*/ 791 w 1365"/>
                <a:gd name="T13" fmla="*/ 9 h 3718"/>
                <a:gd name="T14" fmla="*/ 89 w 1365"/>
                <a:gd name="T15" fmla="*/ 0 h 3718"/>
                <a:gd name="T16" fmla="*/ 51 w 1365"/>
                <a:gd name="T17" fmla="*/ 2965 h 3718"/>
                <a:gd name="T18" fmla="*/ 683 w 1365"/>
                <a:gd name="T19" fmla="*/ 3708 h 3718"/>
                <a:gd name="T20" fmla="*/ 684 w 1365"/>
                <a:gd name="T21" fmla="*/ 3708 h 3718"/>
                <a:gd name="T22" fmla="*/ 1357 w 1365"/>
                <a:gd name="T23" fmla="*/ 3717 h 3718"/>
                <a:gd name="T24" fmla="*/ 1364 w 1365"/>
                <a:gd name="T25" fmla="*/ 3169 h 3718"/>
                <a:gd name="T26" fmla="*/ 960 w 1365"/>
                <a:gd name="T27" fmla="*/ 3164 h 37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65" h="3718">
                  <a:moveTo>
                    <a:pt x="960" y="3164"/>
                  </a:moveTo>
                  <a:cubicBezTo>
                    <a:pt x="960" y="3164"/>
                    <a:pt x="756" y="3164"/>
                    <a:pt x="753" y="2983"/>
                  </a:cubicBezTo>
                  <a:lnTo>
                    <a:pt x="773" y="1401"/>
                  </a:lnTo>
                  <a:lnTo>
                    <a:pt x="1336" y="1408"/>
                  </a:lnTo>
                  <a:lnTo>
                    <a:pt x="1343" y="860"/>
                  </a:lnTo>
                  <a:lnTo>
                    <a:pt x="780" y="853"/>
                  </a:lnTo>
                  <a:lnTo>
                    <a:pt x="791" y="9"/>
                  </a:lnTo>
                  <a:lnTo>
                    <a:pt x="89" y="0"/>
                  </a:lnTo>
                  <a:lnTo>
                    <a:pt x="51" y="2965"/>
                  </a:lnTo>
                  <a:cubicBezTo>
                    <a:pt x="51" y="2965"/>
                    <a:pt x="0" y="3701"/>
                    <a:pt x="683" y="3708"/>
                  </a:cubicBezTo>
                  <a:lnTo>
                    <a:pt x="684" y="3708"/>
                  </a:lnTo>
                  <a:lnTo>
                    <a:pt x="1357" y="3717"/>
                  </a:lnTo>
                  <a:lnTo>
                    <a:pt x="1364" y="3169"/>
                  </a:lnTo>
                  <a:lnTo>
                    <a:pt x="960" y="3164"/>
                  </a:lnTo>
                </a:path>
              </a:pathLst>
            </a:custGeom>
            <a:grp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grpSp>
        <p:nvGrpSpPr>
          <p:cNvPr id="27" name="Group 26">
            <a:extLst>
              <a:ext uri="{FF2B5EF4-FFF2-40B4-BE49-F238E27FC236}">
                <a16:creationId xmlns:a16="http://schemas.microsoft.com/office/drawing/2014/main" id="{1E2BD65A-BA94-F74A-9C9E-0AAE010E7504}"/>
              </a:ext>
            </a:extLst>
          </p:cNvPr>
          <p:cNvGrpSpPr/>
          <p:nvPr userDrawn="1"/>
        </p:nvGrpSpPr>
        <p:grpSpPr>
          <a:xfrm>
            <a:off x="-7916" y="0"/>
            <a:ext cx="12193199" cy="6868077"/>
            <a:chOff x="3392488" y="1893888"/>
            <a:chExt cx="1028700" cy="579437"/>
          </a:xfrm>
        </p:grpSpPr>
        <p:sp>
          <p:nvSpPr>
            <p:cNvPr id="28" name="Freeform 51">
              <a:extLst>
                <a:ext uri="{FF2B5EF4-FFF2-40B4-BE49-F238E27FC236}">
                  <a16:creationId xmlns:a16="http://schemas.microsoft.com/office/drawing/2014/main" id="{478F0900-76BB-464F-87B4-47FD372A5D9D}"/>
                </a:ext>
              </a:extLst>
            </p:cNvPr>
            <p:cNvSpPr>
              <a:spLocks noChangeArrowheads="1"/>
            </p:cNvSpPr>
            <p:nvPr/>
          </p:nvSpPr>
          <p:spPr bwMode="auto">
            <a:xfrm>
              <a:off x="3770313" y="1893888"/>
              <a:ext cx="334962" cy="144462"/>
            </a:xfrm>
            <a:custGeom>
              <a:avLst/>
              <a:gdLst>
                <a:gd name="T0" fmla="*/ 50 w 932"/>
                <a:gd name="T1" fmla="*/ 260 h 400"/>
                <a:gd name="T2" fmla="*/ 345 w 932"/>
                <a:gd name="T3" fmla="*/ 339 h 400"/>
                <a:gd name="T4" fmla="*/ 931 w 932"/>
                <a:gd name="T5" fmla="*/ 0 h 400"/>
                <a:gd name="T6" fmla="*/ 83 w 932"/>
                <a:gd name="T7" fmla="*/ 0 h 400"/>
                <a:gd name="T8" fmla="*/ 50 w 932"/>
                <a:gd name="T9" fmla="*/ 260 h 400"/>
              </a:gdLst>
              <a:ahLst/>
              <a:cxnLst>
                <a:cxn ang="0">
                  <a:pos x="T0" y="T1"/>
                </a:cxn>
                <a:cxn ang="0">
                  <a:pos x="T2" y="T3"/>
                </a:cxn>
                <a:cxn ang="0">
                  <a:pos x="T4" y="T5"/>
                </a:cxn>
                <a:cxn ang="0">
                  <a:pos x="T6" y="T7"/>
                </a:cxn>
                <a:cxn ang="0">
                  <a:pos x="T8" y="T9"/>
                </a:cxn>
              </a:cxnLst>
              <a:rect l="0" t="0" r="r" b="b"/>
              <a:pathLst>
                <a:path w="932" h="400">
                  <a:moveTo>
                    <a:pt x="50" y="260"/>
                  </a:moveTo>
                  <a:cubicBezTo>
                    <a:pt x="110" y="363"/>
                    <a:pt x="242" y="399"/>
                    <a:pt x="345" y="339"/>
                  </a:cubicBezTo>
                  <a:lnTo>
                    <a:pt x="931" y="0"/>
                  </a:lnTo>
                  <a:lnTo>
                    <a:pt x="83" y="0"/>
                  </a:lnTo>
                  <a:cubicBezTo>
                    <a:pt x="17" y="68"/>
                    <a:pt x="0" y="174"/>
                    <a:pt x="50" y="260"/>
                  </a:cubicBezTo>
                </a:path>
              </a:pathLst>
            </a:custGeom>
            <a:solidFill>
              <a:schemeClr val="accent3">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9" name="Freeform 52">
              <a:extLst>
                <a:ext uri="{FF2B5EF4-FFF2-40B4-BE49-F238E27FC236}">
                  <a16:creationId xmlns:a16="http://schemas.microsoft.com/office/drawing/2014/main" id="{5F82F763-2D8F-D844-808A-1A8EE5531045}"/>
                </a:ext>
              </a:extLst>
            </p:cNvPr>
            <p:cNvSpPr>
              <a:spLocks noChangeArrowheads="1"/>
            </p:cNvSpPr>
            <p:nvPr/>
          </p:nvSpPr>
          <p:spPr bwMode="auto">
            <a:xfrm>
              <a:off x="3392488" y="2146300"/>
              <a:ext cx="77787" cy="153988"/>
            </a:xfrm>
            <a:custGeom>
              <a:avLst/>
              <a:gdLst>
                <a:gd name="T0" fmla="*/ 155 w 215"/>
                <a:gd name="T1" fmla="*/ 105 h 428"/>
                <a:gd name="T2" fmla="*/ 0 w 215"/>
                <a:gd name="T3" fmla="*/ 0 h 428"/>
                <a:gd name="T4" fmla="*/ 0 w 215"/>
                <a:gd name="T5" fmla="*/ 66 h 428"/>
                <a:gd name="T6" fmla="*/ 98 w 215"/>
                <a:gd name="T7" fmla="*/ 138 h 428"/>
                <a:gd name="T8" fmla="*/ 113 w 215"/>
                <a:gd name="T9" fmla="*/ 252 h 428"/>
                <a:gd name="T10" fmla="*/ 43 w 215"/>
                <a:gd name="T11" fmla="*/ 344 h 428"/>
                <a:gd name="T12" fmla="*/ 0 w 215"/>
                <a:gd name="T13" fmla="*/ 360 h 428"/>
                <a:gd name="T14" fmla="*/ 0 w 215"/>
                <a:gd name="T15" fmla="*/ 427 h 428"/>
                <a:gd name="T16" fmla="*/ 76 w 215"/>
                <a:gd name="T17" fmla="*/ 400 h 428"/>
                <a:gd name="T18" fmla="*/ 155 w 215"/>
                <a:gd name="T19" fmla="*/ 105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5" h="428">
                  <a:moveTo>
                    <a:pt x="155" y="105"/>
                  </a:moveTo>
                  <a:cubicBezTo>
                    <a:pt x="121" y="46"/>
                    <a:pt x="63" y="10"/>
                    <a:pt x="0" y="0"/>
                  </a:cubicBezTo>
                  <a:lnTo>
                    <a:pt x="0" y="66"/>
                  </a:lnTo>
                  <a:cubicBezTo>
                    <a:pt x="41" y="76"/>
                    <a:pt x="77" y="101"/>
                    <a:pt x="98" y="138"/>
                  </a:cubicBezTo>
                  <a:cubicBezTo>
                    <a:pt x="118" y="173"/>
                    <a:pt x="123" y="213"/>
                    <a:pt x="113" y="252"/>
                  </a:cubicBezTo>
                  <a:cubicBezTo>
                    <a:pt x="102" y="291"/>
                    <a:pt x="78" y="324"/>
                    <a:pt x="43" y="344"/>
                  </a:cubicBezTo>
                  <a:cubicBezTo>
                    <a:pt x="30" y="351"/>
                    <a:pt x="15" y="357"/>
                    <a:pt x="0" y="360"/>
                  </a:cubicBezTo>
                  <a:lnTo>
                    <a:pt x="0" y="427"/>
                  </a:lnTo>
                  <a:cubicBezTo>
                    <a:pt x="26" y="423"/>
                    <a:pt x="52" y="414"/>
                    <a:pt x="76" y="400"/>
                  </a:cubicBezTo>
                  <a:cubicBezTo>
                    <a:pt x="179" y="341"/>
                    <a:pt x="214" y="209"/>
                    <a:pt x="155" y="105"/>
                  </a:cubicBezTo>
                </a:path>
              </a:pathLst>
            </a:custGeom>
            <a:solidFill>
              <a:schemeClr val="accent3"/>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30" name="Freeform 53">
              <a:extLst>
                <a:ext uri="{FF2B5EF4-FFF2-40B4-BE49-F238E27FC236}">
                  <a16:creationId xmlns:a16="http://schemas.microsoft.com/office/drawing/2014/main" id="{B937A862-AED5-304E-BDE0-02D502109063}"/>
                </a:ext>
              </a:extLst>
            </p:cNvPr>
            <p:cNvSpPr>
              <a:spLocks noChangeArrowheads="1"/>
            </p:cNvSpPr>
            <p:nvPr/>
          </p:nvSpPr>
          <p:spPr bwMode="auto">
            <a:xfrm>
              <a:off x="3892550" y="2281238"/>
              <a:ext cx="423863" cy="192087"/>
            </a:xfrm>
            <a:custGeom>
              <a:avLst/>
              <a:gdLst>
                <a:gd name="T0" fmla="*/ 1116 w 1176"/>
                <a:gd name="T1" fmla="*/ 139 h 535"/>
                <a:gd name="T2" fmla="*/ 821 w 1176"/>
                <a:gd name="T3" fmla="*/ 60 h 535"/>
                <a:gd name="T4" fmla="*/ 0 w 1176"/>
                <a:gd name="T5" fmla="*/ 534 h 535"/>
                <a:gd name="T6" fmla="*/ 864 w 1176"/>
                <a:gd name="T7" fmla="*/ 534 h 535"/>
                <a:gd name="T8" fmla="*/ 1037 w 1176"/>
                <a:gd name="T9" fmla="*/ 434 h 535"/>
                <a:gd name="T10" fmla="*/ 1116 w 1176"/>
                <a:gd name="T11" fmla="*/ 139 h 535"/>
              </a:gdLst>
              <a:ahLst/>
              <a:cxnLst>
                <a:cxn ang="0">
                  <a:pos x="T0" y="T1"/>
                </a:cxn>
                <a:cxn ang="0">
                  <a:pos x="T2" y="T3"/>
                </a:cxn>
                <a:cxn ang="0">
                  <a:pos x="T4" y="T5"/>
                </a:cxn>
                <a:cxn ang="0">
                  <a:pos x="T6" y="T7"/>
                </a:cxn>
                <a:cxn ang="0">
                  <a:pos x="T8" y="T9"/>
                </a:cxn>
                <a:cxn ang="0">
                  <a:pos x="T10" y="T11"/>
                </a:cxn>
              </a:cxnLst>
              <a:rect l="0" t="0" r="r" b="b"/>
              <a:pathLst>
                <a:path w="1176" h="535">
                  <a:moveTo>
                    <a:pt x="1116" y="139"/>
                  </a:moveTo>
                  <a:cubicBezTo>
                    <a:pt x="1056" y="35"/>
                    <a:pt x="924" y="0"/>
                    <a:pt x="821" y="60"/>
                  </a:cubicBezTo>
                  <a:lnTo>
                    <a:pt x="0" y="534"/>
                  </a:lnTo>
                  <a:lnTo>
                    <a:pt x="864" y="534"/>
                  </a:lnTo>
                  <a:lnTo>
                    <a:pt x="1037" y="434"/>
                  </a:lnTo>
                  <a:cubicBezTo>
                    <a:pt x="1140" y="374"/>
                    <a:pt x="1175" y="242"/>
                    <a:pt x="1116" y="139"/>
                  </a:cubicBezTo>
                </a:path>
              </a:pathLst>
            </a:custGeom>
            <a:solidFill>
              <a:schemeClr val="accent6">
                <a:alpha val="4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31" name="Freeform 54">
              <a:extLst>
                <a:ext uri="{FF2B5EF4-FFF2-40B4-BE49-F238E27FC236}">
                  <a16:creationId xmlns:a16="http://schemas.microsoft.com/office/drawing/2014/main" id="{08C4A516-321D-7B49-9A11-55CB3289E1DD}"/>
                </a:ext>
              </a:extLst>
            </p:cNvPr>
            <p:cNvSpPr>
              <a:spLocks noChangeArrowheads="1"/>
            </p:cNvSpPr>
            <p:nvPr/>
          </p:nvSpPr>
          <p:spPr bwMode="auto">
            <a:xfrm>
              <a:off x="4327525" y="2182813"/>
              <a:ext cx="93663" cy="155575"/>
            </a:xfrm>
            <a:custGeom>
              <a:avLst/>
              <a:gdLst>
                <a:gd name="T0" fmla="*/ 139 w 258"/>
                <a:gd name="T1" fmla="*/ 29 h 433"/>
                <a:gd name="T2" fmla="*/ 60 w 258"/>
                <a:gd name="T3" fmla="*/ 324 h 433"/>
                <a:gd name="T4" fmla="*/ 247 w 258"/>
                <a:gd name="T5" fmla="*/ 432 h 433"/>
                <a:gd name="T6" fmla="*/ 257 w 258"/>
                <a:gd name="T7" fmla="*/ 432 h 433"/>
                <a:gd name="T8" fmla="*/ 257 w 258"/>
                <a:gd name="T9" fmla="*/ 366 h 433"/>
                <a:gd name="T10" fmla="*/ 247 w 258"/>
                <a:gd name="T11" fmla="*/ 367 h 433"/>
                <a:gd name="T12" fmla="*/ 116 w 258"/>
                <a:gd name="T13" fmla="*/ 291 h 433"/>
                <a:gd name="T14" fmla="*/ 101 w 258"/>
                <a:gd name="T15" fmla="*/ 177 h 433"/>
                <a:gd name="T16" fmla="*/ 171 w 258"/>
                <a:gd name="T17" fmla="*/ 86 h 433"/>
                <a:gd name="T18" fmla="*/ 247 w 258"/>
                <a:gd name="T19" fmla="*/ 66 h 433"/>
                <a:gd name="T20" fmla="*/ 247 w 258"/>
                <a:gd name="T21" fmla="*/ 66 h 433"/>
                <a:gd name="T22" fmla="*/ 257 w 258"/>
                <a:gd name="T23" fmla="*/ 66 h 433"/>
                <a:gd name="T24" fmla="*/ 257 w 258"/>
                <a:gd name="T25" fmla="*/ 0 h 433"/>
                <a:gd name="T26" fmla="*/ 247 w 258"/>
                <a:gd name="T27" fmla="*/ 0 h 433"/>
                <a:gd name="T28" fmla="*/ 139 w 258"/>
                <a:gd name="T29" fmla="*/ 29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8" h="433">
                  <a:moveTo>
                    <a:pt x="139" y="29"/>
                  </a:moveTo>
                  <a:cubicBezTo>
                    <a:pt x="36" y="89"/>
                    <a:pt x="0" y="221"/>
                    <a:pt x="60" y="324"/>
                  </a:cubicBezTo>
                  <a:cubicBezTo>
                    <a:pt x="100" y="393"/>
                    <a:pt x="172" y="432"/>
                    <a:pt x="247" y="432"/>
                  </a:cubicBezTo>
                  <a:cubicBezTo>
                    <a:pt x="250" y="432"/>
                    <a:pt x="253" y="432"/>
                    <a:pt x="257" y="432"/>
                  </a:cubicBezTo>
                  <a:lnTo>
                    <a:pt x="257" y="366"/>
                  </a:lnTo>
                  <a:cubicBezTo>
                    <a:pt x="253" y="367"/>
                    <a:pt x="250" y="367"/>
                    <a:pt x="247" y="367"/>
                  </a:cubicBezTo>
                  <a:cubicBezTo>
                    <a:pt x="193" y="367"/>
                    <a:pt x="143" y="338"/>
                    <a:pt x="116" y="291"/>
                  </a:cubicBezTo>
                  <a:cubicBezTo>
                    <a:pt x="96" y="257"/>
                    <a:pt x="90" y="216"/>
                    <a:pt x="101" y="177"/>
                  </a:cubicBezTo>
                  <a:cubicBezTo>
                    <a:pt x="111" y="138"/>
                    <a:pt x="137" y="106"/>
                    <a:pt x="171" y="86"/>
                  </a:cubicBezTo>
                  <a:cubicBezTo>
                    <a:pt x="194" y="73"/>
                    <a:pt x="220" y="66"/>
                    <a:pt x="247" y="66"/>
                  </a:cubicBezTo>
                  <a:lnTo>
                    <a:pt x="247" y="66"/>
                  </a:lnTo>
                  <a:cubicBezTo>
                    <a:pt x="250" y="66"/>
                    <a:pt x="253" y="66"/>
                    <a:pt x="257" y="66"/>
                  </a:cubicBezTo>
                  <a:lnTo>
                    <a:pt x="257" y="0"/>
                  </a:lnTo>
                  <a:cubicBezTo>
                    <a:pt x="253" y="0"/>
                    <a:pt x="250" y="0"/>
                    <a:pt x="247" y="0"/>
                  </a:cubicBezTo>
                  <a:cubicBezTo>
                    <a:pt x="210" y="0"/>
                    <a:pt x="173" y="9"/>
                    <a:pt x="139" y="29"/>
                  </a:cubicBezTo>
                </a:path>
              </a:pathLst>
            </a:custGeom>
            <a:solidFill>
              <a:schemeClr val="accent6">
                <a:alpha val="70000"/>
              </a:scheme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grpSp>
    </p:spTree>
    <p:extLst>
      <p:ext uri="{BB962C8B-B14F-4D97-AF65-F5344CB8AC3E}">
        <p14:creationId xmlns:p14="http://schemas.microsoft.com/office/powerpoint/2010/main" val="3057056043"/>
      </p:ext>
    </p:extLst>
  </p:cSld>
  <p:clrMapOvr>
    <a:masterClrMapping/>
  </p:clrMapOvr>
  <p:extLst>
    <p:ext uri="{DCECCB84-F9BA-43D5-87BE-67443E8EF086}">
      <p15:sldGuideLst xmlns:p15="http://schemas.microsoft.com/office/powerpoint/2012/main">
        <p15:guide id="1" orient="horz" pos="3703">
          <p15:clr>
            <a:srgbClr val="FBAE40"/>
          </p15:clr>
        </p15:guide>
        <p15:guide id="2" pos="442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Date Placeholder 2"/>
          <p:cNvSpPr>
            <a:spLocks noGrp="1"/>
          </p:cNvSpPr>
          <p:nvPr>
            <p:ph type="dt" sz="half" idx="10"/>
          </p:nvPr>
        </p:nvSpPr>
        <p:spPr/>
        <p:txBody>
          <a:bodyPr/>
          <a:lstStyle/>
          <a:p>
            <a:fld id="{A64071B6-7FBF-4BB3-B86C-3E6FEC5E2F66}" type="datetime3">
              <a:rPr lang="en-US" noProof="0" smtClean="0"/>
              <a:t>22 December 2023</a:t>
            </a:fld>
            <a:endParaRPr lang="en-GB" noProof="0" dirty="0"/>
          </a:p>
        </p:txBody>
      </p:sp>
      <p:sp>
        <p:nvSpPr>
          <p:cNvPr id="4" name="Footer Placeholder 3"/>
          <p:cNvSpPr>
            <a:spLocks noGrp="1"/>
          </p:cNvSpPr>
          <p:nvPr>
            <p:ph type="ftr" sz="quarter" idx="11"/>
          </p:nvPr>
        </p:nvSpPr>
        <p:spPr/>
        <p:txBody>
          <a:bodyPr/>
          <a:lstStyle/>
          <a:p>
            <a:r>
              <a:rPr lang="en-GB" noProof="0" dirty="0"/>
              <a:t>© Colt Technology Services  |  Presentation title here</a:t>
            </a:r>
          </a:p>
        </p:txBody>
      </p:sp>
      <p:sp>
        <p:nvSpPr>
          <p:cNvPr id="5" name="Slide Number Placeholder 4"/>
          <p:cNvSpPr>
            <a:spLocks noGrp="1"/>
          </p:cNvSpPr>
          <p:nvPr>
            <p:ph type="sldNum" sz="quarter" idx="12"/>
          </p:nvPr>
        </p:nvSpPr>
        <p:spPr>
          <a:xfrm>
            <a:off x="11278800" y="6400800"/>
            <a:ext cx="442800" cy="226800"/>
          </a:xfrm>
          <a:prstGeom prst="rect">
            <a:avLst/>
          </a:prstGeom>
        </p:spPr>
        <p:txBody>
          <a:bodyPr/>
          <a:lstStyle>
            <a:lvl1pPr algn="r">
              <a:defRPr/>
            </a:lvl1pPr>
          </a:lstStyle>
          <a:p>
            <a:pPr algn="r"/>
            <a:fld id="{0B868178-02AE-42FC-958D-6B8F13B60175}" type="slidenum">
              <a:rPr lang="en-GB" smtClean="0"/>
              <a:pPr/>
              <a:t>‹#›</a:t>
            </a:fld>
            <a:endParaRPr lang="en-GB" dirty="0"/>
          </a:p>
        </p:txBody>
      </p:sp>
      <p:sp>
        <p:nvSpPr>
          <p:cNvPr id="7" name="Content Placeholder 6">
            <a:extLst>
              <a:ext uri="{FF2B5EF4-FFF2-40B4-BE49-F238E27FC236}">
                <a16:creationId xmlns:a16="http://schemas.microsoft.com/office/drawing/2014/main" id="{823768C6-09D1-43E2-B29E-6E9CD42BB466}"/>
              </a:ext>
            </a:extLst>
          </p:cNvPr>
          <p:cNvSpPr>
            <a:spLocks noGrp="1"/>
          </p:cNvSpPr>
          <p:nvPr>
            <p:ph sz="quarter" idx="13"/>
          </p:nvPr>
        </p:nvSpPr>
        <p:spPr>
          <a:xfrm>
            <a:off x="468000" y="1354136"/>
            <a:ext cx="11257200" cy="482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3672975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1600" y="457200"/>
            <a:ext cx="7502400" cy="896938"/>
          </a:xfrm>
          <a:prstGeom prst="rect">
            <a:avLst/>
          </a:prstGeom>
        </p:spPr>
        <p:txBody>
          <a:bodyPr vert="horz" lIns="0" tIns="0" rIns="0" bIns="0" rtlCol="0" anchor="t" anchorCtr="0">
            <a:noAutofit/>
          </a:bodyPr>
          <a:lstStyle/>
          <a:p>
            <a:r>
              <a:rPr lang="en-US" noProof="0" dirty="0"/>
              <a:t>Click to edit Master title style</a:t>
            </a:r>
            <a:endParaRPr lang="en-GB" noProof="0" dirty="0"/>
          </a:p>
        </p:txBody>
      </p:sp>
      <p:sp>
        <p:nvSpPr>
          <p:cNvPr id="3" name="Text Placeholder 2"/>
          <p:cNvSpPr>
            <a:spLocks noGrp="1"/>
          </p:cNvSpPr>
          <p:nvPr>
            <p:ph type="body" idx="1"/>
          </p:nvPr>
        </p:nvSpPr>
        <p:spPr>
          <a:xfrm>
            <a:off x="468000" y="1353600"/>
            <a:ext cx="11250000" cy="4809600"/>
          </a:xfrm>
          <a:prstGeom prst="rect">
            <a:avLst/>
          </a:prstGeom>
        </p:spPr>
        <p:txBody>
          <a:bodyPr vert="horz" lIns="0" tIns="0" rIns="0" bIns="0" rtlCol="0" anchor="t" anchorCtr="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4" name="Date Placeholder 3"/>
          <p:cNvSpPr>
            <a:spLocks noGrp="1"/>
          </p:cNvSpPr>
          <p:nvPr>
            <p:ph type="dt" sz="half" idx="2"/>
          </p:nvPr>
        </p:nvSpPr>
        <p:spPr>
          <a:xfrm>
            <a:off x="493192" y="7532007"/>
            <a:ext cx="2844800" cy="288000"/>
          </a:xfrm>
          <a:prstGeom prst="rect">
            <a:avLst/>
          </a:prstGeom>
        </p:spPr>
        <p:txBody>
          <a:bodyPr vert="horz" lIns="0" tIns="0" rIns="0" bIns="0" rtlCol="0" anchor="b" anchorCtr="0">
            <a:noAutofit/>
          </a:bodyPr>
          <a:lstStyle>
            <a:lvl1pPr algn="l">
              <a:defRPr sz="1000">
                <a:solidFill>
                  <a:schemeClr val="tx1"/>
                </a:solidFill>
              </a:defRPr>
            </a:lvl1pPr>
          </a:lstStyle>
          <a:p>
            <a:fld id="{00B7A701-B70B-48A4-9EFB-4F00A3212127}" type="datetime3">
              <a:rPr lang="en-US" noProof="0" smtClean="0"/>
              <a:t>22 December 2023</a:t>
            </a:fld>
            <a:endParaRPr lang="en-GB" noProof="0" dirty="0"/>
          </a:p>
        </p:txBody>
      </p:sp>
      <p:sp>
        <p:nvSpPr>
          <p:cNvPr id="5" name="Footer Placeholder 4"/>
          <p:cNvSpPr>
            <a:spLocks noGrp="1"/>
          </p:cNvSpPr>
          <p:nvPr>
            <p:ph type="ftr" sz="quarter" idx="3"/>
          </p:nvPr>
        </p:nvSpPr>
        <p:spPr>
          <a:xfrm>
            <a:off x="471600" y="6400800"/>
            <a:ext cx="5400000" cy="226800"/>
          </a:xfrm>
          <a:prstGeom prst="rect">
            <a:avLst/>
          </a:prstGeom>
        </p:spPr>
        <p:txBody>
          <a:bodyPr vert="horz" lIns="0" tIns="0" rIns="0" bIns="0" rtlCol="0" anchor="t" anchorCtr="0">
            <a:noAutofit/>
          </a:bodyPr>
          <a:lstStyle>
            <a:lvl1pPr algn="l">
              <a:defRPr lang="en-GB" sz="800" noProof="0">
                <a:solidFill>
                  <a:schemeClr val="accent2"/>
                </a:solidFill>
              </a:defRPr>
            </a:lvl1pPr>
          </a:lstStyle>
          <a:p>
            <a:pPr>
              <a:lnSpc>
                <a:spcPts val="970"/>
              </a:lnSpc>
            </a:pPr>
            <a:r>
              <a:rPr lang="en-GB" dirty="0">
                <a:solidFill>
                  <a:schemeClr val="accent2"/>
                </a:solidFill>
              </a:rPr>
              <a:t>© Colt Technology Services  |  Presentation title here</a:t>
            </a:r>
          </a:p>
        </p:txBody>
      </p:sp>
      <p:sp>
        <p:nvSpPr>
          <p:cNvPr id="23" name="Freeform 17">
            <a:extLst>
              <a:ext uri="{FF2B5EF4-FFF2-40B4-BE49-F238E27FC236}">
                <a16:creationId xmlns:a16="http://schemas.microsoft.com/office/drawing/2014/main" id="{B4EDE833-89E7-4E43-9BCD-BD651FADD1DA}"/>
              </a:ext>
            </a:extLst>
          </p:cNvPr>
          <p:cNvSpPr>
            <a:spLocks noChangeArrowheads="1"/>
          </p:cNvSpPr>
          <p:nvPr userDrawn="1"/>
        </p:nvSpPr>
        <p:spPr bwMode="auto">
          <a:xfrm rot="10800000">
            <a:off x="11410391" y="5869697"/>
            <a:ext cx="793668" cy="824524"/>
          </a:xfrm>
          <a:custGeom>
            <a:avLst/>
            <a:gdLst>
              <a:gd name="T0" fmla="*/ 1417 w 1478"/>
              <a:gd name="T1" fmla="*/ 139 h 711"/>
              <a:gd name="T2" fmla="*/ 1122 w 1478"/>
              <a:gd name="T3" fmla="*/ 60 h 711"/>
              <a:gd name="T4" fmla="*/ 24 w 1478"/>
              <a:gd name="T5" fmla="*/ 694 h 711"/>
              <a:gd name="T6" fmla="*/ 0 w 1478"/>
              <a:gd name="T7" fmla="*/ 710 h 711"/>
              <a:gd name="T8" fmla="*/ 859 w 1478"/>
              <a:gd name="T9" fmla="*/ 710 h 711"/>
              <a:gd name="T10" fmla="*/ 1338 w 1478"/>
              <a:gd name="T11" fmla="*/ 434 h 711"/>
              <a:gd name="T12" fmla="*/ 1417 w 1478"/>
              <a:gd name="T13" fmla="*/ 139 h 711"/>
              <a:gd name="connsiteX0" fmla="*/ 9587 w 9785"/>
              <a:gd name="connsiteY0" fmla="*/ 1524 h 10356"/>
              <a:gd name="connsiteX1" fmla="*/ 7591 w 9785"/>
              <a:gd name="connsiteY1" fmla="*/ 413 h 10356"/>
              <a:gd name="connsiteX2" fmla="*/ 162 w 9785"/>
              <a:gd name="connsiteY2" fmla="*/ 9330 h 10356"/>
              <a:gd name="connsiteX3" fmla="*/ 0 w 9785"/>
              <a:gd name="connsiteY3" fmla="*/ 9555 h 10356"/>
              <a:gd name="connsiteX4" fmla="*/ 4999 w 9785"/>
              <a:gd name="connsiteY4" fmla="*/ 10356 h 10356"/>
              <a:gd name="connsiteX5" fmla="*/ 9053 w 9785"/>
              <a:gd name="connsiteY5" fmla="*/ 5673 h 10356"/>
              <a:gd name="connsiteX6" fmla="*/ 9587 w 9785"/>
              <a:gd name="connsiteY6" fmla="*/ 1524 h 10356"/>
              <a:gd name="connsiteX0" fmla="*/ 9636 w 9838"/>
              <a:gd name="connsiteY0" fmla="*/ 1472 h 11892"/>
              <a:gd name="connsiteX1" fmla="*/ 7596 w 9838"/>
              <a:gd name="connsiteY1" fmla="*/ 399 h 11892"/>
              <a:gd name="connsiteX2" fmla="*/ 4 w 9838"/>
              <a:gd name="connsiteY2" fmla="*/ 9009 h 11892"/>
              <a:gd name="connsiteX3" fmla="*/ 625 w 9838"/>
              <a:gd name="connsiteY3" fmla="*/ 11892 h 11892"/>
              <a:gd name="connsiteX4" fmla="*/ 4947 w 9838"/>
              <a:gd name="connsiteY4" fmla="*/ 10000 h 11892"/>
              <a:gd name="connsiteX5" fmla="*/ 9090 w 9838"/>
              <a:gd name="connsiteY5" fmla="*/ 5478 h 11892"/>
              <a:gd name="connsiteX6" fmla="*/ 9636 w 9838"/>
              <a:gd name="connsiteY6" fmla="*/ 1472 h 11892"/>
              <a:gd name="connsiteX0" fmla="*/ 9160 w 9365"/>
              <a:gd name="connsiteY0" fmla="*/ 1238 h 10000"/>
              <a:gd name="connsiteX1" fmla="*/ 7086 w 9365"/>
              <a:gd name="connsiteY1" fmla="*/ 336 h 10000"/>
              <a:gd name="connsiteX2" fmla="*/ 4480 w 9365"/>
              <a:gd name="connsiteY2" fmla="*/ 2661 h 10000"/>
              <a:gd name="connsiteX3" fmla="*/ 0 w 9365"/>
              <a:gd name="connsiteY3" fmla="*/ 10000 h 10000"/>
              <a:gd name="connsiteX4" fmla="*/ 4393 w 9365"/>
              <a:gd name="connsiteY4" fmla="*/ 8409 h 10000"/>
              <a:gd name="connsiteX5" fmla="*/ 8605 w 9365"/>
              <a:gd name="connsiteY5" fmla="*/ 4606 h 10000"/>
              <a:gd name="connsiteX6" fmla="*/ 9160 w 9365"/>
              <a:gd name="connsiteY6" fmla="*/ 1238 h 10000"/>
              <a:gd name="connsiteX0" fmla="*/ 5130 w 5350"/>
              <a:gd name="connsiteY0" fmla="*/ 1238 h 8409"/>
              <a:gd name="connsiteX1" fmla="*/ 2915 w 5350"/>
              <a:gd name="connsiteY1" fmla="*/ 336 h 8409"/>
              <a:gd name="connsiteX2" fmla="*/ 133 w 5350"/>
              <a:gd name="connsiteY2" fmla="*/ 2661 h 8409"/>
              <a:gd name="connsiteX3" fmla="*/ 0 w 5350"/>
              <a:gd name="connsiteY3" fmla="*/ 2482 h 8409"/>
              <a:gd name="connsiteX4" fmla="*/ 40 w 5350"/>
              <a:gd name="connsiteY4" fmla="*/ 8409 h 8409"/>
              <a:gd name="connsiteX5" fmla="*/ 4537 w 5350"/>
              <a:gd name="connsiteY5" fmla="*/ 4606 h 8409"/>
              <a:gd name="connsiteX6" fmla="*/ 5130 w 5350"/>
              <a:gd name="connsiteY6" fmla="*/ 1238 h 8409"/>
              <a:gd name="connsiteX0" fmla="*/ 9521 w 9932"/>
              <a:gd name="connsiteY0" fmla="*/ 1471 h 9999"/>
              <a:gd name="connsiteX1" fmla="*/ 5381 w 9932"/>
              <a:gd name="connsiteY1" fmla="*/ 399 h 9999"/>
              <a:gd name="connsiteX2" fmla="*/ 181 w 9932"/>
              <a:gd name="connsiteY2" fmla="*/ 3163 h 9999"/>
              <a:gd name="connsiteX3" fmla="*/ 19 w 9932"/>
              <a:gd name="connsiteY3" fmla="*/ 5891 h 9999"/>
              <a:gd name="connsiteX4" fmla="*/ 7 w 9932"/>
              <a:gd name="connsiteY4" fmla="*/ 9999 h 9999"/>
              <a:gd name="connsiteX5" fmla="*/ 8412 w 9932"/>
              <a:gd name="connsiteY5" fmla="*/ 5476 h 9999"/>
              <a:gd name="connsiteX6" fmla="*/ 9521 w 9932"/>
              <a:gd name="connsiteY6" fmla="*/ 1471 h 9999"/>
              <a:gd name="connsiteX0" fmla="*/ 9586 w 10000"/>
              <a:gd name="connsiteY0" fmla="*/ 1471 h 10000"/>
              <a:gd name="connsiteX1" fmla="*/ 5418 w 10000"/>
              <a:gd name="connsiteY1" fmla="*/ 399 h 10000"/>
              <a:gd name="connsiteX2" fmla="*/ 95 w 10000"/>
              <a:gd name="connsiteY2" fmla="*/ 3205 h 10000"/>
              <a:gd name="connsiteX3" fmla="*/ 19 w 10000"/>
              <a:gd name="connsiteY3" fmla="*/ 5892 h 10000"/>
              <a:gd name="connsiteX4" fmla="*/ 7 w 10000"/>
              <a:gd name="connsiteY4" fmla="*/ 10000 h 10000"/>
              <a:gd name="connsiteX5" fmla="*/ 8470 w 10000"/>
              <a:gd name="connsiteY5" fmla="*/ 5477 h 10000"/>
              <a:gd name="connsiteX6" fmla="*/ 9586 w 10000"/>
              <a:gd name="connsiteY6" fmla="*/ 147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000" h="10000">
                <a:moveTo>
                  <a:pt x="9586" y="1471"/>
                </a:moveTo>
                <a:cubicBezTo>
                  <a:pt x="8753" y="58"/>
                  <a:pt x="6887" y="-417"/>
                  <a:pt x="5418" y="399"/>
                </a:cubicBezTo>
                <a:lnTo>
                  <a:pt x="95" y="3205"/>
                </a:lnTo>
                <a:cubicBezTo>
                  <a:pt x="-35" y="3273"/>
                  <a:pt x="117" y="5810"/>
                  <a:pt x="19" y="5892"/>
                </a:cubicBezTo>
                <a:cubicBezTo>
                  <a:pt x="43" y="8241"/>
                  <a:pt x="-18" y="7650"/>
                  <a:pt x="7" y="10000"/>
                </a:cubicBezTo>
                <a:cubicBezTo>
                  <a:pt x="2263" y="8750"/>
                  <a:pt x="6215" y="6729"/>
                  <a:pt x="8470" y="5477"/>
                </a:cubicBezTo>
                <a:cubicBezTo>
                  <a:pt x="9938" y="4662"/>
                  <a:pt x="10435" y="2870"/>
                  <a:pt x="9586" y="1471"/>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dirty="0"/>
          </a:p>
        </p:txBody>
      </p:sp>
      <p:sp>
        <p:nvSpPr>
          <p:cNvPr id="24" name="Slide Number Placeholder 5">
            <a:extLst>
              <a:ext uri="{FF2B5EF4-FFF2-40B4-BE49-F238E27FC236}">
                <a16:creationId xmlns:a16="http://schemas.microsoft.com/office/drawing/2014/main" id="{3059D886-7AB0-AA41-A2DE-48306A87689C}"/>
              </a:ext>
            </a:extLst>
          </p:cNvPr>
          <p:cNvSpPr>
            <a:spLocks noGrp="1"/>
          </p:cNvSpPr>
          <p:nvPr>
            <p:ph type="sldNum" sz="quarter" idx="4"/>
          </p:nvPr>
        </p:nvSpPr>
        <p:spPr>
          <a:xfrm>
            <a:off x="11278800" y="6400800"/>
            <a:ext cx="442800" cy="226800"/>
          </a:xfrm>
          <a:prstGeom prst="rect">
            <a:avLst/>
          </a:prstGeom>
        </p:spPr>
        <p:txBody>
          <a:bodyPr vert="horz" lIns="0" tIns="0" rIns="0" bIns="0" rtlCol="0" anchor="t" anchorCtr="0">
            <a:noAutofit/>
          </a:bodyPr>
          <a:lstStyle>
            <a:lvl1pPr algn="l">
              <a:defRPr lang="en-GB" sz="800" noProof="0" smtClean="0">
                <a:solidFill>
                  <a:schemeClr val="bg1"/>
                </a:solidFill>
              </a:defRPr>
            </a:lvl1pPr>
          </a:lstStyle>
          <a:p>
            <a:pPr algn="r">
              <a:lnSpc>
                <a:spcPts val="970"/>
              </a:lnSpc>
            </a:pPr>
            <a:fld id="{0B868178-02AE-42FC-958D-6B8F13B60175}" type="slidenum">
              <a:rPr lang="en-GB" smtClean="0"/>
              <a:pPr algn="r">
                <a:lnSpc>
                  <a:spcPts val="970"/>
                </a:lnSpc>
              </a:pPr>
              <a:t>‹#›</a:t>
            </a:fld>
            <a:endParaRPr lang="en-GB" sz="800" noProof="0" dirty="0">
              <a:solidFill>
                <a:schemeClr val="bg1"/>
              </a:solidFill>
            </a:endParaRPr>
          </a:p>
        </p:txBody>
      </p:sp>
      <p:pic>
        <p:nvPicPr>
          <p:cNvPr id="8" name="Picture 7">
            <a:extLst>
              <a:ext uri="{FF2B5EF4-FFF2-40B4-BE49-F238E27FC236}">
                <a16:creationId xmlns:a16="http://schemas.microsoft.com/office/drawing/2014/main" id="{C8FB9428-24CC-E649-A562-722C7E5D30C0}"/>
              </a:ext>
            </a:extLst>
          </p:cNvPr>
          <p:cNvPicPr>
            <a:picLocks noChangeAspect="1"/>
          </p:cNvPicPr>
          <p:nvPr userDrawn="1"/>
        </p:nvPicPr>
        <p:blipFill>
          <a:blip r:embed="rId45"/>
          <a:stretch>
            <a:fillRect/>
          </a:stretch>
        </p:blipFill>
        <p:spPr>
          <a:xfrm>
            <a:off x="9812748" y="-4480"/>
            <a:ext cx="2024770" cy="1134813"/>
          </a:xfrm>
          <a:prstGeom prst="rect">
            <a:avLst/>
          </a:prstGeom>
        </p:spPr>
      </p:pic>
    </p:spTree>
    <p:extLst>
      <p:ext uri="{BB962C8B-B14F-4D97-AF65-F5344CB8AC3E}">
        <p14:creationId xmlns:p14="http://schemas.microsoft.com/office/powerpoint/2010/main" val="3743216919"/>
      </p:ext>
    </p:extLst>
  </p:cSld>
  <p:clrMap bg1="lt1" tx1="dk1" bg2="lt2" tx2="dk2" accent1="accent1" accent2="accent2" accent3="accent3" accent4="accent4" accent5="accent5" accent6="accent6" hlink="hlink" folHlink="folHlink"/>
  <p:sldLayoutIdLst>
    <p:sldLayoutId id="2147483691" r:id="rId1"/>
    <p:sldLayoutId id="2147483701" r:id="rId2"/>
    <p:sldLayoutId id="2147483702" r:id="rId3"/>
    <p:sldLayoutId id="2147483703" r:id="rId4"/>
    <p:sldLayoutId id="2147483649" r:id="rId5"/>
    <p:sldLayoutId id="2147483656" r:id="rId6"/>
    <p:sldLayoutId id="2147483657" r:id="rId7"/>
    <p:sldLayoutId id="2147483690" r:id="rId8"/>
    <p:sldLayoutId id="2147483689" r:id="rId9"/>
    <p:sldLayoutId id="2147483687" r:id="rId10"/>
    <p:sldLayoutId id="2147483688" r:id="rId11"/>
    <p:sldLayoutId id="2147483654" r:id="rId12"/>
    <p:sldLayoutId id="2147483655" r:id="rId13"/>
    <p:sldLayoutId id="2147483697" r:id="rId14"/>
    <p:sldLayoutId id="2147483698" r:id="rId15"/>
    <p:sldLayoutId id="2147483699" r:id="rId16"/>
    <p:sldLayoutId id="2147483700" r:id="rId17"/>
    <p:sldLayoutId id="2147483666" r:id="rId18"/>
    <p:sldLayoutId id="2147483714" r:id="rId19"/>
    <p:sldLayoutId id="2147483708" r:id="rId20"/>
    <p:sldLayoutId id="2147483668" r:id="rId21"/>
    <p:sldLayoutId id="2147483710" r:id="rId22"/>
    <p:sldLayoutId id="2147483712" r:id="rId23"/>
    <p:sldLayoutId id="2147483709" r:id="rId24"/>
    <p:sldLayoutId id="2147483711" r:id="rId25"/>
    <p:sldLayoutId id="2147483713" r:id="rId26"/>
    <p:sldLayoutId id="2147483670" r:id="rId27"/>
    <p:sldLayoutId id="2147483652" r:id="rId28"/>
    <p:sldLayoutId id="2147483672" r:id="rId29"/>
    <p:sldLayoutId id="2147483673" r:id="rId30"/>
    <p:sldLayoutId id="2147483671" r:id="rId31"/>
    <p:sldLayoutId id="2147483674" r:id="rId32"/>
    <p:sldLayoutId id="2147483675" r:id="rId33"/>
    <p:sldLayoutId id="2147483676" r:id="rId34"/>
    <p:sldLayoutId id="2147483677" r:id="rId35"/>
    <p:sldLayoutId id="2147483679" r:id="rId36"/>
    <p:sldLayoutId id="2147483682" r:id="rId37"/>
    <p:sldLayoutId id="2147483683" r:id="rId38"/>
    <p:sldLayoutId id="2147483684" r:id="rId39"/>
    <p:sldLayoutId id="2147483685" r:id="rId40"/>
    <p:sldLayoutId id="2147483686" r:id="rId41"/>
    <p:sldLayoutId id="2147483659" r:id="rId42"/>
    <p:sldLayoutId id="2147483715" r:id="rId43"/>
  </p:sldLayoutIdLst>
  <p:hf hdr="0"/>
  <p:txStyles>
    <p:titleStyle>
      <a:lvl1pPr algn="l" defTabSz="914400" rtl="0" eaLnBrk="1" latinLnBrk="0" hangingPunct="1">
        <a:lnSpc>
          <a:spcPts val="2120"/>
        </a:lnSpc>
        <a:spcBef>
          <a:spcPct val="0"/>
        </a:spcBef>
        <a:buNone/>
        <a:defRPr sz="1940" kern="1200">
          <a:solidFill>
            <a:schemeClr val="accent2"/>
          </a:solidFill>
          <a:latin typeface="+mj-lt"/>
          <a:ea typeface="+mj-ea"/>
          <a:cs typeface="+mj-cs"/>
        </a:defRPr>
      </a:lvl1pPr>
    </p:titleStyle>
    <p:bodyStyle>
      <a:lvl1pPr marL="0" indent="0" algn="l" defTabSz="914400" rtl="0" eaLnBrk="1" latinLnBrk="0" hangingPunct="1">
        <a:lnSpc>
          <a:spcPts val="2290"/>
        </a:lnSpc>
        <a:spcBef>
          <a:spcPts val="0"/>
        </a:spcBef>
        <a:spcAft>
          <a:spcPts val="283"/>
        </a:spcAft>
        <a:buFontTx/>
        <a:buNone/>
        <a:defRPr sz="1940" kern="1200">
          <a:solidFill>
            <a:schemeClr val="accent2"/>
          </a:solidFill>
          <a:latin typeface="+mn-lt"/>
          <a:ea typeface="+mn-ea"/>
          <a:cs typeface="+mn-cs"/>
        </a:defRPr>
      </a:lvl1pPr>
      <a:lvl2pPr marL="0" indent="0" algn="l" defTabSz="914400" rtl="0" eaLnBrk="1" latinLnBrk="0" hangingPunct="1">
        <a:lnSpc>
          <a:spcPts val="2290"/>
        </a:lnSpc>
        <a:spcBef>
          <a:spcPts val="0"/>
        </a:spcBef>
        <a:spcAft>
          <a:spcPts val="283"/>
        </a:spcAft>
        <a:buFont typeface="Arial" panose="020B0604020202020204" pitchFamily="34" charset="0"/>
        <a:buNone/>
        <a:defRPr sz="1940" kern="1200">
          <a:solidFill>
            <a:schemeClr val="tx2"/>
          </a:solidFill>
          <a:latin typeface="+mn-lt"/>
          <a:ea typeface="+mn-ea"/>
          <a:cs typeface="+mn-cs"/>
        </a:defRPr>
      </a:lvl2pPr>
      <a:lvl3pPr marL="0" indent="0" algn="l" defTabSz="914400" rtl="0" eaLnBrk="1" latinLnBrk="0" hangingPunct="1">
        <a:lnSpc>
          <a:spcPts val="1760"/>
        </a:lnSpc>
        <a:spcBef>
          <a:spcPts val="0"/>
        </a:spcBef>
        <a:spcAft>
          <a:spcPts val="283"/>
        </a:spcAft>
        <a:buFont typeface="Arial" panose="020B0604020202020204" pitchFamily="34" charset="0"/>
        <a:buNone/>
        <a:defRPr sz="1410" kern="1200">
          <a:solidFill>
            <a:schemeClr val="accent2"/>
          </a:solidFill>
          <a:latin typeface="+mn-lt"/>
          <a:ea typeface="+mn-ea"/>
          <a:cs typeface="+mn-cs"/>
        </a:defRPr>
      </a:lvl3pPr>
      <a:lvl4pPr marL="0" indent="0" algn="l" defTabSz="914400" rtl="0" eaLnBrk="1" latinLnBrk="0" hangingPunct="1">
        <a:lnSpc>
          <a:spcPts val="1760"/>
        </a:lnSpc>
        <a:spcBef>
          <a:spcPts val="0"/>
        </a:spcBef>
        <a:spcAft>
          <a:spcPts val="567"/>
        </a:spcAft>
        <a:buFont typeface="Arial" panose="020B0604020202020204" pitchFamily="34" charset="0"/>
        <a:buNone/>
        <a:defRPr sz="1410" kern="1200">
          <a:solidFill>
            <a:schemeClr val="tx2"/>
          </a:solidFill>
          <a:latin typeface="+mn-lt"/>
          <a:ea typeface="+mn-ea"/>
          <a:cs typeface="+mn-cs"/>
        </a:defRPr>
      </a:lvl4pPr>
      <a:lvl5pPr marL="180000" indent="-180000" algn="l" defTabSz="914400" rtl="0" eaLnBrk="1" latinLnBrk="0" hangingPunct="1">
        <a:lnSpc>
          <a:spcPts val="1760"/>
        </a:lnSpc>
        <a:spcBef>
          <a:spcPts val="0"/>
        </a:spcBef>
        <a:spcAft>
          <a:spcPts val="567"/>
        </a:spcAft>
        <a:buClr>
          <a:schemeClr val="accent6"/>
        </a:buClr>
        <a:buSzPct val="135000"/>
        <a:buFont typeface="Arial" panose="020B0604020202020204" pitchFamily="34" charset="0"/>
        <a:buChar char="•"/>
        <a:defRPr sz="1410" kern="1200">
          <a:solidFill>
            <a:schemeClr val="tx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92" userDrawn="1">
          <p15:clr>
            <a:srgbClr val="F26B43"/>
          </p15:clr>
        </p15:guide>
        <p15:guide id="2" pos="7383" userDrawn="1">
          <p15:clr>
            <a:srgbClr val="F26B43"/>
          </p15:clr>
        </p15:guide>
        <p15:guide id="3" orient="horz" pos="853" userDrawn="1">
          <p15:clr>
            <a:srgbClr val="F26B43"/>
          </p15:clr>
        </p15:guide>
        <p15:guide id="4" orient="horz" pos="3890" userDrawn="1">
          <p15:clr>
            <a:srgbClr val="F26B43"/>
          </p15:clr>
        </p15:guide>
        <p15:guide id="5" orient="horz" pos="28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7EBC7A8-D3F1-ED4C-88AD-083E74EB0C6D}"/>
              </a:ext>
            </a:extLst>
          </p:cNvPr>
          <p:cNvSpPr>
            <a:spLocks noGrp="1"/>
          </p:cNvSpPr>
          <p:nvPr>
            <p:ph type="title"/>
          </p:nvPr>
        </p:nvSpPr>
        <p:spPr>
          <a:xfrm>
            <a:off x="471600" y="457200"/>
            <a:ext cx="7502400" cy="476731"/>
          </a:xfrm>
        </p:spPr>
        <p:txBody>
          <a:bodyPr/>
          <a:lstStyle/>
          <a:p>
            <a:r>
              <a:rPr lang="en-GB" dirty="0">
                <a:solidFill>
                  <a:srgbClr val="00D7BD"/>
                </a:solidFill>
              </a:rPr>
              <a:t>Customer Success Story – European private bank</a:t>
            </a:r>
            <a:endParaRPr dirty="0">
              <a:solidFill>
                <a:srgbClr val="00D7BD"/>
              </a:solidFill>
            </a:endParaRPr>
          </a:p>
        </p:txBody>
      </p:sp>
      <p:sp>
        <p:nvSpPr>
          <p:cNvPr id="2" name="Slide Number Placeholder 1">
            <a:extLst>
              <a:ext uri="{FF2B5EF4-FFF2-40B4-BE49-F238E27FC236}">
                <a16:creationId xmlns:a16="http://schemas.microsoft.com/office/drawing/2014/main" id="{41E23B1B-AE10-4D4F-909D-5655C73874B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D0FE45-509C-4BDF-9EDE-64426F8DF3D2}" type="slidenum">
              <a:rPr kumimoji="0" lang="nl-NL" sz="900" b="0" i="0" u="none" strike="noStrike" kern="0" cap="none" spc="0" normalizeH="0" baseline="0" noProof="0" smtClean="0">
                <a:ln>
                  <a:noFill/>
                </a:ln>
                <a:solidFill>
                  <a:schemeClr val="bg2"/>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nl-NL" sz="900" b="0" i="0" u="none" strike="noStrike" kern="0" cap="none" spc="0" normalizeH="0" baseline="0" noProof="0" dirty="0">
              <a:ln>
                <a:noFill/>
              </a:ln>
              <a:solidFill>
                <a:schemeClr val="bg2"/>
              </a:solidFill>
              <a:effectLst/>
              <a:uLnTx/>
              <a:uFillTx/>
              <a:latin typeface="Arial"/>
              <a:ea typeface="+mn-ea"/>
              <a:cs typeface="+mn-cs"/>
            </a:endParaRPr>
          </a:p>
        </p:txBody>
      </p:sp>
      <p:grpSp>
        <p:nvGrpSpPr>
          <p:cNvPr id="55" name="Group 54">
            <a:extLst>
              <a:ext uri="{FF2B5EF4-FFF2-40B4-BE49-F238E27FC236}">
                <a16:creationId xmlns:a16="http://schemas.microsoft.com/office/drawing/2014/main" id="{02D417B2-29C5-AC40-826E-D659F5A9AFF7}"/>
              </a:ext>
            </a:extLst>
          </p:cNvPr>
          <p:cNvGrpSpPr/>
          <p:nvPr/>
        </p:nvGrpSpPr>
        <p:grpSpPr>
          <a:xfrm>
            <a:off x="3728005" y="2821100"/>
            <a:ext cx="7854880" cy="1407424"/>
            <a:chOff x="3370099" y="2911482"/>
            <a:chExt cx="8512064" cy="1525177"/>
          </a:xfrm>
        </p:grpSpPr>
        <p:grpSp>
          <p:nvGrpSpPr>
            <p:cNvPr id="48" name="Group 47">
              <a:extLst>
                <a:ext uri="{FF2B5EF4-FFF2-40B4-BE49-F238E27FC236}">
                  <a16:creationId xmlns:a16="http://schemas.microsoft.com/office/drawing/2014/main" id="{D79DB610-343D-D747-97FE-F2EC0130ECCC}"/>
                </a:ext>
              </a:extLst>
            </p:cNvPr>
            <p:cNvGrpSpPr/>
            <p:nvPr/>
          </p:nvGrpSpPr>
          <p:grpSpPr>
            <a:xfrm>
              <a:off x="3370099" y="2911482"/>
              <a:ext cx="1525618" cy="1525176"/>
              <a:chOff x="1835767" y="2896056"/>
              <a:chExt cx="1525618" cy="1525176"/>
            </a:xfrm>
          </p:grpSpPr>
          <p:sp>
            <p:nvSpPr>
              <p:cNvPr id="10" name="Freeform 9">
                <a:extLst>
                  <a:ext uri="{FF2B5EF4-FFF2-40B4-BE49-F238E27FC236}">
                    <a16:creationId xmlns:a16="http://schemas.microsoft.com/office/drawing/2014/main" id="{E5868560-A844-EE4B-AB8B-D4F080C2F81B}"/>
                  </a:ext>
                </a:extLst>
              </p:cNvPr>
              <p:cNvSpPr/>
              <p:nvPr/>
            </p:nvSpPr>
            <p:spPr>
              <a:xfrm>
                <a:off x="1835767" y="2896056"/>
                <a:ext cx="1525618" cy="1525176"/>
              </a:xfrm>
              <a:custGeom>
                <a:avLst/>
                <a:gdLst/>
                <a:ahLst/>
                <a:cxnLst>
                  <a:cxn ang="3cd4">
                    <a:pos x="hc" y="t"/>
                  </a:cxn>
                  <a:cxn ang="cd2">
                    <a:pos x="l" y="vc"/>
                  </a:cxn>
                  <a:cxn ang="cd4">
                    <a:pos x="hc" y="b"/>
                  </a:cxn>
                  <a:cxn ang="0">
                    <a:pos x="r" y="vc"/>
                  </a:cxn>
                </a:cxnLst>
                <a:rect l="l" t="t" r="r" b="b"/>
                <a:pathLst>
                  <a:path w="3451" h="3450">
                    <a:moveTo>
                      <a:pt x="1726" y="0"/>
                    </a:moveTo>
                    <a:cubicBezTo>
                      <a:pt x="2678" y="0"/>
                      <a:pt x="3451" y="772"/>
                      <a:pt x="3451" y="1725"/>
                    </a:cubicBezTo>
                    <a:cubicBezTo>
                      <a:pt x="3451" y="2678"/>
                      <a:pt x="2678" y="3450"/>
                      <a:pt x="1726" y="3450"/>
                    </a:cubicBezTo>
                    <a:cubicBezTo>
                      <a:pt x="773" y="3450"/>
                      <a:pt x="0" y="2678"/>
                      <a:pt x="0" y="1725"/>
                    </a:cubicBezTo>
                    <a:cubicBezTo>
                      <a:pt x="0" y="772"/>
                      <a:pt x="773" y="0"/>
                      <a:pt x="1726" y="0"/>
                    </a:cubicBezTo>
                    <a:close/>
                    <a:moveTo>
                      <a:pt x="1726" y="612"/>
                    </a:moveTo>
                    <a:cubicBezTo>
                      <a:pt x="1111" y="612"/>
                      <a:pt x="612" y="1110"/>
                      <a:pt x="612" y="1725"/>
                    </a:cubicBezTo>
                    <a:cubicBezTo>
                      <a:pt x="612" y="2340"/>
                      <a:pt x="1110" y="2839"/>
                      <a:pt x="1726" y="2839"/>
                    </a:cubicBezTo>
                    <a:cubicBezTo>
                      <a:pt x="2341" y="2839"/>
                      <a:pt x="2839" y="2340"/>
                      <a:pt x="2839" y="1725"/>
                    </a:cubicBezTo>
                    <a:cubicBezTo>
                      <a:pt x="2839" y="1110"/>
                      <a:pt x="2341" y="612"/>
                      <a:pt x="1726" y="612"/>
                    </a:cubicBezTo>
                    <a:close/>
                  </a:path>
                </a:pathLst>
              </a:custGeom>
              <a:solidFill>
                <a:schemeClr val="accent1"/>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sp>
            <p:nvSpPr>
              <p:cNvPr id="27" name="Freeform 26">
                <a:extLst>
                  <a:ext uri="{FF2B5EF4-FFF2-40B4-BE49-F238E27FC236}">
                    <a16:creationId xmlns:a16="http://schemas.microsoft.com/office/drawing/2014/main" id="{803334B7-E01D-1245-BCCC-167BE44B6C5B}"/>
                  </a:ext>
                </a:extLst>
              </p:cNvPr>
              <p:cNvSpPr/>
              <p:nvPr/>
            </p:nvSpPr>
            <p:spPr>
              <a:xfrm>
                <a:off x="2245251" y="3367894"/>
                <a:ext cx="741583" cy="462992"/>
              </a:xfrm>
              <a:custGeom>
                <a:avLst/>
                <a:gdLst/>
                <a:ahLst/>
                <a:cxnLst>
                  <a:cxn ang="3cd4">
                    <a:pos x="hc" y="t"/>
                  </a:cxn>
                  <a:cxn ang="cd2">
                    <a:pos x="l" y="vc"/>
                  </a:cxn>
                  <a:cxn ang="cd4">
                    <a:pos x="hc" y="b"/>
                  </a:cxn>
                  <a:cxn ang="0">
                    <a:pos x="r" y="vc"/>
                  </a:cxn>
                </a:cxnLst>
                <a:rect l="l" t="t" r="r" b="b"/>
                <a:pathLst>
                  <a:path w="1678" h="1048">
                    <a:moveTo>
                      <a:pt x="1678" y="765"/>
                    </a:moveTo>
                    <a:cubicBezTo>
                      <a:pt x="1674" y="779"/>
                      <a:pt x="1672" y="793"/>
                      <a:pt x="1669" y="807"/>
                    </a:cubicBezTo>
                    <a:cubicBezTo>
                      <a:pt x="1634" y="947"/>
                      <a:pt x="1510" y="1047"/>
                      <a:pt x="1365" y="1047"/>
                    </a:cubicBezTo>
                    <a:cubicBezTo>
                      <a:pt x="1014" y="1048"/>
                      <a:pt x="663" y="1048"/>
                      <a:pt x="312" y="1047"/>
                    </a:cubicBezTo>
                    <a:cubicBezTo>
                      <a:pt x="173" y="1047"/>
                      <a:pt x="50" y="953"/>
                      <a:pt x="12" y="820"/>
                    </a:cubicBezTo>
                    <a:cubicBezTo>
                      <a:pt x="-26" y="686"/>
                      <a:pt x="27" y="543"/>
                      <a:pt x="145" y="468"/>
                    </a:cubicBezTo>
                    <a:cubicBezTo>
                      <a:pt x="154" y="462"/>
                      <a:pt x="157" y="456"/>
                      <a:pt x="158" y="446"/>
                    </a:cubicBezTo>
                    <a:cubicBezTo>
                      <a:pt x="169" y="214"/>
                      <a:pt x="351" y="22"/>
                      <a:pt x="582" y="2"/>
                    </a:cubicBezTo>
                    <a:cubicBezTo>
                      <a:pt x="768" y="-15"/>
                      <a:pt x="915" y="57"/>
                      <a:pt x="1022" y="210"/>
                    </a:cubicBezTo>
                    <a:cubicBezTo>
                      <a:pt x="1028" y="219"/>
                      <a:pt x="1033" y="221"/>
                      <a:pt x="1044" y="219"/>
                    </a:cubicBezTo>
                    <a:cubicBezTo>
                      <a:pt x="1211" y="178"/>
                      <a:pt x="1374" y="260"/>
                      <a:pt x="1442" y="418"/>
                    </a:cubicBezTo>
                    <a:cubicBezTo>
                      <a:pt x="1445" y="423"/>
                      <a:pt x="1450" y="429"/>
                      <a:pt x="1456" y="431"/>
                    </a:cubicBezTo>
                    <a:cubicBezTo>
                      <a:pt x="1581" y="476"/>
                      <a:pt x="1655" y="562"/>
                      <a:pt x="1676" y="694"/>
                    </a:cubicBezTo>
                    <a:cubicBezTo>
                      <a:pt x="1676" y="696"/>
                      <a:pt x="1677" y="698"/>
                      <a:pt x="1678" y="700"/>
                    </a:cubicBezTo>
                    <a:cubicBezTo>
                      <a:pt x="1678" y="722"/>
                      <a:pt x="1678" y="743"/>
                      <a:pt x="1678" y="765"/>
                    </a:cubicBezTo>
                    <a:close/>
                    <a:moveTo>
                      <a:pt x="265" y="528"/>
                    </a:moveTo>
                    <a:cubicBezTo>
                      <a:pt x="259" y="530"/>
                      <a:pt x="254" y="532"/>
                      <a:pt x="250" y="533"/>
                    </a:cubicBezTo>
                    <a:cubicBezTo>
                      <a:pt x="155" y="563"/>
                      <a:pt x="92" y="662"/>
                      <a:pt x="106" y="757"/>
                    </a:cubicBezTo>
                    <a:cubicBezTo>
                      <a:pt x="121" y="864"/>
                      <a:pt x="206" y="942"/>
                      <a:pt x="311" y="942"/>
                    </a:cubicBezTo>
                    <a:cubicBezTo>
                      <a:pt x="663" y="943"/>
                      <a:pt x="1015" y="943"/>
                      <a:pt x="1367" y="942"/>
                    </a:cubicBezTo>
                    <a:cubicBezTo>
                      <a:pt x="1474" y="942"/>
                      <a:pt x="1561" y="859"/>
                      <a:pt x="1572" y="752"/>
                    </a:cubicBezTo>
                    <a:cubicBezTo>
                      <a:pt x="1582" y="650"/>
                      <a:pt x="1513" y="553"/>
                      <a:pt x="1413" y="529"/>
                    </a:cubicBezTo>
                    <a:cubicBezTo>
                      <a:pt x="1396" y="525"/>
                      <a:pt x="1379" y="524"/>
                      <a:pt x="1362" y="521"/>
                    </a:cubicBezTo>
                    <a:cubicBezTo>
                      <a:pt x="1347" y="432"/>
                      <a:pt x="1301" y="367"/>
                      <a:pt x="1218" y="332"/>
                    </a:cubicBezTo>
                    <a:cubicBezTo>
                      <a:pt x="1134" y="297"/>
                      <a:pt x="1055" y="311"/>
                      <a:pt x="981" y="363"/>
                    </a:cubicBezTo>
                    <a:cubicBezTo>
                      <a:pt x="924" y="181"/>
                      <a:pt x="740" y="74"/>
                      <a:pt x="556" y="111"/>
                    </a:cubicBezTo>
                    <a:cubicBezTo>
                      <a:pt x="380" y="145"/>
                      <a:pt x="230" y="323"/>
                      <a:pt x="265" y="528"/>
                    </a:cubicBezTo>
                    <a:close/>
                  </a:path>
                </a:pathLst>
              </a:custGeom>
              <a:solidFill>
                <a:srgbClr val="505050"/>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grpSp>
        <p:grpSp>
          <p:nvGrpSpPr>
            <p:cNvPr id="49" name="Group 48">
              <a:extLst>
                <a:ext uri="{FF2B5EF4-FFF2-40B4-BE49-F238E27FC236}">
                  <a16:creationId xmlns:a16="http://schemas.microsoft.com/office/drawing/2014/main" id="{26A4475A-C6BF-5F4D-A67B-91FCA13708DF}"/>
                </a:ext>
              </a:extLst>
            </p:cNvPr>
            <p:cNvGrpSpPr/>
            <p:nvPr/>
          </p:nvGrpSpPr>
          <p:grpSpPr>
            <a:xfrm>
              <a:off x="5116821" y="2911483"/>
              <a:ext cx="1525618" cy="1525176"/>
              <a:chOff x="3582489" y="2896057"/>
              <a:chExt cx="1525618" cy="1525176"/>
            </a:xfrm>
          </p:grpSpPr>
          <p:sp>
            <p:nvSpPr>
              <p:cNvPr id="11" name="Freeform 10">
                <a:extLst>
                  <a:ext uri="{FF2B5EF4-FFF2-40B4-BE49-F238E27FC236}">
                    <a16:creationId xmlns:a16="http://schemas.microsoft.com/office/drawing/2014/main" id="{64DDC74F-DB5E-2642-8842-57643D2FBA75}"/>
                  </a:ext>
                </a:extLst>
              </p:cNvPr>
              <p:cNvSpPr/>
              <p:nvPr/>
            </p:nvSpPr>
            <p:spPr>
              <a:xfrm>
                <a:off x="3582489" y="2896057"/>
                <a:ext cx="1525618" cy="1525176"/>
              </a:xfrm>
              <a:custGeom>
                <a:avLst/>
                <a:gdLst/>
                <a:ahLst/>
                <a:cxnLst>
                  <a:cxn ang="3cd4">
                    <a:pos x="hc" y="t"/>
                  </a:cxn>
                  <a:cxn ang="cd2">
                    <a:pos x="l" y="vc"/>
                  </a:cxn>
                  <a:cxn ang="cd4">
                    <a:pos x="hc" y="b"/>
                  </a:cxn>
                  <a:cxn ang="0">
                    <a:pos x="r" y="vc"/>
                  </a:cxn>
                </a:cxnLst>
                <a:rect l="l" t="t" r="r" b="b"/>
                <a:pathLst>
                  <a:path w="3451" h="3450">
                    <a:moveTo>
                      <a:pt x="1725" y="0"/>
                    </a:moveTo>
                    <a:cubicBezTo>
                      <a:pt x="2678" y="0"/>
                      <a:pt x="3451" y="772"/>
                      <a:pt x="3451" y="1725"/>
                    </a:cubicBezTo>
                    <a:cubicBezTo>
                      <a:pt x="3451" y="2678"/>
                      <a:pt x="2678" y="3450"/>
                      <a:pt x="1725" y="3450"/>
                    </a:cubicBezTo>
                    <a:cubicBezTo>
                      <a:pt x="772" y="3450"/>
                      <a:pt x="0" y="2678"/>
                      <a:pt x="0" y="1725"/>
                    </a:cubicBezTo>
                    <a:cubicBezTo>
                      <a:pt x="0" y="772"/>
                      <a:pt x="772" y="0"/>
                      <a:pt x="1725" y="0"/>
                    </a:cubicBezTo>
                    <a:close/>
                    <a:moveTo>
                      <a:pt x="1725" y="612"/>
                    </a:moveTo>
                    <a:cubicBezTo>
                      <a:pt x="1111" y="612"/>
                      <a:pt x="612" y="1110"/>
                      <a:pt x="612" y="1725"/>
                    </a:cubicBezTo>
                    <a:cubicBezTo>
                      <a:pt x="612" y="2340"/>
                      <a:pt x="1110" y="2839"/>
                      <a:pt x="1725" y="2839"/>
                    </a:cubicBezTo>
                    <a:cubicBezTo>
                      <a:pt x="2340" y="2839"/>
                      <a:pt x="2839" y="2340"/>
                      <a:pt x="2839" y="1725"/>
                    </a:cubicBezTo>
                    <a:cubicBezTo>
                      <a:pt x="2839" y="1110"/>
                      <a:pt x="2340" y="612"/>
                      <a:pt x="1725" y="612"/>
                    </a:cubicBezTo>
                    <a:close/>
                  </a:path>
                </a:pathLst>
              </a:custGeom>
              <a:solidFill>
                <a:schemeClr val="accent6"/>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sp>
            <p:nvSpPr>
              <p:cNvPr id="28" name="Freeform 27">
                <a:extLst>
                  <a:ext uri="{FF2B5EF4-FFF2-40B4-BE49-F238E27FC236}">
                    <a16:creationId xmlns:a16="http://schemas.microsoft.com/office/drawing/2014/main" id="{6CE6C532-4E3B-284F-BD37-00A5E393A379}"/>
                  </a:ext>
                </a:extLst>
              </p:cNvPr>
              <p:cNvSpPr/>
              <p:nvPr/>
            </p:nvSpPr>
            <p:spPr>
              <a:xfrm>
                <a:off x="4138787" y="3362145"/>
                <a:ext cx="412580" cy="566911"/>
              </a:xfrm>
              <a:custGeom>
                <a:avLst/>
                <a:gdLst/>
                <a:ahLst/>
                <a:cxnLst>
                  <a:cxn ang="3cd4">
                    <a:pos x="hc" y="t"/>
                  </a:cxn>
                  <a:cxn ang="cd2">
                    <a:pos x="l" y="vc"/>
                  </a:cxn>
                  <a:cxn ang="cd4">
                    <a:pos x="hc" y="b"/>
                  </a:cxn>
                  <a:cxn ang="0">
                    <a:pos x="r" y="vc"/>
                  </a:cxn>
                </a:cxnLst>
                <a:rect l="l" t="t" r="r" b="b"/>
                <a:pathLst>
                  <a:path w="934" h="1283">
                    <a:moveTo>
                      <a:pt x="189" y="1044"/>
                    </a:moveTo>
                    <a:cubicBezTo>
                      <a:pt x="187" y="1005"/>
                      <a:pt x="186" y="966"/>
                      <a:pt x="183" y="928"/>
                    </a:cubicBezTo>
                    <a:cubicBezTo>
                      <a:pt x="181" y="905"/>
                      <a:pt x="173" y="884"/>
                      <a:pt x="160" y="865"/>
                    </a:cubicBezTo>
                    <a:cubicBezTo>
                      <a:pt x="132" y="823"/>
                      <a:pt x="104" y="780"/>
                      <a:pt x="77" y="738"/>
                    </a:cubicBezTo>
                    <a:cubicBezTo>
                      <a:pt x="16" y="640"/>
                      <a:pt x="-8" y="533"/>
                      <a:pt x="3" y="418"/>
                    </a:cubicBezTo>
                    <a:cubicBezTo>
                      <a:pt x="7" y="371"/>
                      <a:pt x="16" y="325"/>
                      <a:pt x="33" y="281"/>
                    </a:cubicBezTo>
                    <a:cubicBezTo>
                      <a:pt x="61" y="208"/>
                      <a:pt x="109" y="149"/>
                      <a:pt x="169" y="100"/>
                    </a:cubicBezTo>
                    <a:cubicBezTo>
                      <a:pt x="255" y="32"/>
                      <a:pt x="354" y="0"/>
                      <a:pt x="464" y="0"/>
                    </a:cubicBezTo>
                    <a:cubicBezTo>
                      <a:pt x="549" y="-1"/>
                      <a:pt x="630" y="16"/>
                      <a:pt x="704" y="59"/>
                    </a:cubicBezTo>
                    <a:cubicBezTo>
                      <a:pt x="828" y="131"/>
                      <a:pt x="905" y="237"/>
                      <a:pt x="928" y="381"/>
                    </a:cubicBezTo>
                    <a:cubicBezTo>
                      <a:pt x="946" y="503"/>
                      <a:pt x="929" y="618"/>
                      <a:pt x="865" y="725"/>
                    </a:cubicBezTo>
                    <a:cubicBezTo>
                      <a:pt x="839" y="769"/>
                      <a:pt x="811" y="812"/>
                      <a:pt x="781" y="854"/>
                    </a:cubicBezTo>
                    <a:cubicBezTo>
                      <a:pt x="757" y="888"/>
                      <a:pt x="748" y="925"/>
                      <a:pt x="746" y="965"/>
                    </a:cubicBezTo>
                    <a:cubicBezTo>
                      <a:pt x="745" y="997"/>
                      <a:pt x="744" y="1029"/>
                      <a:pt x="744" y="1061"/>
                    </a:cubicBezTo>
                    <a:cubicBezTo>
                      <a:pt x="744" y="1072"/>
                      <a:pt x="745" y="1082"/>
                      <a:pt x="746" y="1093"/>
                    </a:cubicBezTo>
                    <a:cubicBezTo>
                      <a:pt x="747" y="1102"/>
                      <a:pt x="748" y="1112"/>
                      <a:pt x="748" y="1122"/>
                    </a:cubicBezTo>
                    <a:cubicBezTo>
                      <a:pt x="747" y="1161"/>
                      <a:pt x="723" y="1188"/>
                      <a:pt x="684" y="1194"/>
                    </a:cubicBezTo>
                    <a:cubicBezTo>
                      <a:pt x="665" y="1196"/>
                      <a:pt x="645" y="1197"/>
                      <a:pt x="626" y="1198"/>
                    </a:cubicBezTo>
                    <a:cubicBezTo>
                      <a:pt x="612" y="1198"/>
                      <a:pt x="602" y="1203"/>
                      <a:pt x="594" y="1216"/>
                    </a:cubicBezTo>
                    <a:cubicBezTo>
                      <a:pt x="572" y="1255"/>
                      <a:pt x="537" y="1275"/>
                      <a:pt x="493" y="1281"/>
                    </a:cubicBezTo>
                    <a:cubicBezTo>
                      <a:pt x="443" y="1288"/>
                      <a:pt x="396" y="1277"/>
                      <a:pt x="358" y="1241"/>
                    </a:cubicBezTo>
                    <a:cubicBezTo>
                      <a:pt x="350" y="1233"/>
                      <a:pt x="343" y="1223"/>
                      <a:pt x="337" y="1213"/>
                    </a:cubicBezTo>
                    <a:cubicBezTo>
                      <a:pt x="332" y="1202"/>
                      <a:pt x="324" y="1198"/>
                      <a:pt x="313" y="1198"/>
                    </a:cubicBezTo>
                    <a:cubicBezTo>
                      <a:pt x="290" y="1196"/>
                      <a:pt x="268" y="1194"/>
                      <a:pt x="246" y="1192"/>
                    </a:cubicBezTo>
                    <a:cubicBezTo>
                      <a:pt x="211" y="1188"/>
                      <a:pt x="188" y="1162"/>
                      <a:pt x="187" y="1127"/>
                    </a:cubicBezTo>
                    <a:cubicBezTo>
                      <a:pt x="186" y="1099"/>
                      <a:pt x="187" y="1071"/>
                      <a:pt x="187" y="1043"/>
                    </a:cubicBezTo>
                    <a:cubicBezTo>
                      <a:pt x="188" y="1044"/>
                      <a:pt x="188" y="1044"/>
                      <a:pt x="189" y="1044"/>
                    </a:cubicBezTo>
                    <a:close/>
                    <a:moveTo>
                      <a:pt x="463" y="914"/>
                    </a:moveTo>
                    <a:cubicBezTo>
                      <a:pt x="509" y="914"/>
                      <a:pt x="555" y="915"/>
                      <a:pt x="602" y="914"/>
                    </a:cubicBezTo>
                    <a:cubicBezTo>
                      <a:pt x="642" y="913"/>
                      <a:pt x="672" y="894"/>
                      <a:pt x="691" y="858"/>
                    </a:cubicBezTo>
                    <a:cubicBezTo>
                      <a:pt x="696" y="849"/>
                      <a:pt x="700" y="840"/>
                      <a:pt x="706" y="832"/>
                    </a:cubicBezTo>
                    <a:cubicBezTo>
                      <a:pt x="736" y="785"/>
                      <a:pt x="768" y="738"/>
                      <a:pt x="797" y="691"/>
                    </a:cubicBezTo>
                    <a:cubicBezTo>
                      <a:pt x="855" y="596"/>
                      <a:pt x="869" y="493"/>
                      <a:pt x="850" y="385"/>
                    </a:cubicBezTo>
                    <a:cubicBezTo>
                      <a:pt x="844" y="348"/>
                      <a:pt x="836" y="312"/>
                      <a:pt x="817" y="279"/>
                    </a:cubicBezTo>
                    <a:cubicBezTo>
                      <a:pt x="705" y="81"/>
                      <a:pt x="440" y="18"/>
                      <a:pt x="247" y="143"/>
                    </a:cubicBezTo>
                    <a:cubicBezTo>
                      <a:pt x="173" y="190"/>
                      <a:pt x="117" y="253"/>
                      <a:pt x="95" y="340"/>
                    </a:cubicBezTo>
                    <a:cubicBezTo>
                      <a:pt x="89" y="364"/>
                      <a:pt x="84" y="389"/>
                      <a:pt x="81" y="413"/>
                    </a:cubicBezTo>
                    <a:cubicBezTo>
                      <a:pt x="69" y="515"/>
                      <a:pt x="87" y="611"/>
                      <a:pt x="143" y="698"/>
                    </a:cubicBezTo>
                    <a:cubicBezTo>
                      <a:pt x="171" y="743"/>
                      <a:pt x="200" y="786"/>
                      <a:pt x="229" y="831"/>
                    </a:cubicBezTo>
                    <a:cubicBezTo>
                      <a:pt x="234" y="840"/>
                      <a:pt x="239" y="849"/>
                      <a:pt x="244" y="859"/>
                    </a:cubicBezTo>
                    <a:cubicBezTo>
                      <a:pt x="261" y="895"/>
                      <a:pt x="289" y="914"/>
                      <a:pt x="328" y="914"/>
                    </a:cubicBezTo>
                    <a:cubicBezTo>
                      <a:pt x="373" y="914"/>
                      <a:pt x="418" y="914"/>
                      <a:pt x="463" y="914"/>
                    </a:cubicBezTo>
                    <a:close/>
                  </a:path>
                </a:pathLst>
              </a:custGeom>
              <a:solidFill>
                <a:srgbClr val="505050"/>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sp>
            <p:nvSpPr>
              <p:cNvPr id="29" name="Freeform 28">
                <a:extLst>
                  <a:ext uri="{FF2B5EF4-FFF2-40B4-BE49-F238E27FC236}">
                    <a16:creationId xmlns:a16="http://schemas.microsoft.com/office/drawing/2014/main" id="{B2C84E9D-8B95-9A40-A30E-CE795BA7C3CD}"/>
                  </a:ext>
                </a:extLst>
              </p:cNvPr>
              <p:cNvSpPr/>
              <p:nvPr/>
            </p:nvSpPr>
            <p:spPr>
              <a:xfrm>
                <a:off x="4256856" y="3514264"/>
                <a:ext cx="176441" cy="135758"/>
              </a:xfrm>
              <a:custGeom>
                <a:avLst/>
                <a:gdLst/>
                <a:ahLst/>
                <a:cxnLst>
                  <a:cxn ang="3cd4">
                    <a:pos x="hc" y="t"/>
                  </a:cxn>
                  <a:cxn ang="cd2">
                    <a:pos x="l" y="vc"/>
                  </a:cxn>
                  <a:cxn ang="cd4">
                    <a:pos x="hc" y="b"/>
                  </a:cxn>
                  <a:cxn ang="0">
                    <a:pos x="r" y="vc"/>
                  </a:cxn>
                </a:cxnLst>
                <a:rect l="l" t="t" r="r" b="b"/>
                <a:pathLst>
                  <a:path w="400" h="308">
                    <a:moveTo>
                      <a:pt x="151" y="308"/>
                    </a:moveTo>
                    <a:cubicBezTo>
                      <a:pt x="132" y="289"/>
                      <a:pt x="114" y="271"/>
                      <a:pt x="96" y="253"/>
                    </a:cubicBezTo>
                    <a:cubicBezTo>
                      <a:pt x="69" y="225"/>
                      <a:pt x="42" y="198"/>
                      <a:pt x="15" y="171"/>
                    </a:cubicBezTo>
                    <a:cubicBezTo>
                      <a:pt x="-4" y="153"/>
                      <a:pt x="-4" y="127"/>
                      <a:pt x="13" y="110"/>
                    </a:cubicBezTo>
                    <a:cubicBezTo>
                      <a:pt x="29" y="94"/>
                      <a:pt x="55" y="95"/>
                      <a:pt x="73" y="113"/>
                    </a:cubicBezTo>
                    <a:cubicBezTo>
                      <a:pt x="96" y="136"/>
                      <a:pt x="119" y="159"/>
                      <a:pt x="142" y="182"/>
                    </a:cubicBezTo>
                    <a:cubicBezTo>
                      <a:pt x="145" y="185"/>
                      <a:pt x="147" y="189"/>
                      <a:pt x="150" y="194"/>
                    </a:cubicBezTo>
                    <a:cubicBezTo>
                      <a:pt x="182" y="161"/>
                      <a:pt x="212" y="131"/>
                      <a:pt x="242" y="101"/>
                    </a:cubicBezTo>
                    <a:cubicBezTo>
                      <a:pt x="271" y="71"/>
                      <a:pt x="299" y="42"/>
                      <a:pt x="328" y="13"/>
                    </a:cubicBezTo>
                    <a:cubicBezTo>
                      <a:pt x="345" y="-4"/>
                      <a:pt x="371" y="-4"/>
                      <a:pt x="387" y="12"/>
                    </a:cubicBezTo>
                    <a:cubicBezTo>
                      <a:pt x="404" y="28"/>
                      <a:pt x="404" y="54"/>
                      <a:pt x="387" y="72"/>
                    </a:cubicBezTo>
                    <a:cubicBezTo>
                      <a:pt x="309" y="149"/>
                      <a:pt x="233" y="227"/>
                      <a:pt x="155" y="304"/>
                    </a:cubicBezTo>
                    <a:cubicBezTo>
                      <a:pt x="154" y="305"/>
                      <a:pt x="153" y="306"/>
                      <a:pt x="151" y="308"/>
                    </a:cubicBezTo>
                    <a:close/>
                  </a:path>
                </a:pathLst>
              </a:custGeom>
              <a:solidFill>
                <a:srgbClr val="505050"/>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grpSp>
        <p:grpSp>
          <p:nvGrpSpPr>
            <p:cNvPr id="50" name="Group 49">
              <a:extLst>
                <a:ext uri="{FF2B5EF4-FFF2-40B4-BE49-F238E27FC236}">
                  <a16:creationId xmlns:a16="http://schemas.microsoft.com/office/drawing/2014/main" id="{BE3D8913-8FFC-A545-A62D-F796CFA59262}"/>
                </a:ext>
              </a:extLst>
            </p:cNvPr>
            <p:cNvGrpSpPr/>
            <p:nvPr/>
          </p:nvGrpSpPr>
          <p:grpSpPr>
            <a:xfrm>
              <a:off x="6863543" y="2911483"/>
              <a:ext cx="1525618" cy="1525176"/>
              <a:chOff x="5329211" y="2896057"/>
              <a:chExt cx="1525618" cy="1525176"/>
            </a:xfrm>
          </p:grpSpPr>
          <p:sp>
            <p:nvSpPr>
              <p:cNvPr id="13" name="Freeform 12">
                <a:extLst>
                  <a:ext uri="{FF2B5EF4-FFF2-40B4-BE49-F238E27FC236}">
                    <a16:creationId xmlns:a16="http://schemas.microsoft.com/office/drawing/2014/main" id="{46D4B0DE-18D8-0642-A6E6-F7ED6D83F2A5}"/>
                  </a:ext>
                </a:extLst>
              </p:cNvPr>
              <p:cNvSpPr/>
              <p:nvPr/>
            </p:nvSpPr>
            <p:spPr>
              <a:xfrm>
                <a:off x="5329211" y="2896057"/>
                <a:ext cx="1525618" cy="1525176"/>
              </a:xfrm>
              <a:custGeom>
                <a:avLst/>
                <a:gdLst/>
                <a:ahLst/>
                <a:cxnLst>
                  <a:cxn ang="3cd4">
                    <a:pos x="hc" y="t"/>
                  </a:cxn>
                  <a:cxn ang="cd2">
                    <a:pos x="l" y="vc"/>
                  </a:cxn>
                  <a:cxn ang="cd4">
                    <a:pos x="hc" y="b"/>
                  </a:cxn>
                  <a:cxn ang="0">
                    <a:pos x="r" y="vc"/>
                  </a:cxn>
                </a:cxnLst>
                <a:rect l="l" t="t" r="r" b="b"/>
                <a:pathLst>
                  <a:path w="3451" h="3450">
                    <a:moveTo>
                      <a:pt x="1725" y="0"/>
                    </a:moveTo>
                    <a:cubicBezTo>
                      <a:pt x="2678" y="0"/>
                      <a:pt x="3451" y="772"/>
                      <a:pt x="3451" y="1725"/>
                    </a:cubicBezTo>
                    <a:cubicBezTo>
                      <a:pt x="3451" y="2678"/>
                      <a:pt x="2677" y="3450"/>
                      <a:pt x="1725" y="3450"/>
                    </a:cubicBezTo>
                    <a:cubicBezTo>
                      <a:pt x="772" y="3450"/>
                      <a:pt x="0" y="2678"/>
                      <a:pt x="0" y="1725"/>
                    </a:cubicBezTo>
                    <a:cubicBezTo>
                      <a:pt x="0" y="772"/>
                      <a:pt x="772" y="0"/>
                      <a:pt x="1725" y="0"/>
                    </a:cubicBezTo>
                    <a:close/>
                    <a:moveTo>
                      <a:pt x="1725" y="612"/>
                    </a:moveTo>
                    <a:cubicBezTo>
                      <a:pt x="1110" y="612"/>
                      <a:pt x="612" y="1110"/>
                      <a:pt x="612" y="1725"/>
                    </a:cubicBezTo>
                    <a:cubicBezTo>
                      <a:pt x="612" y="2340"/>
                      <a:pt x="1110" y="2839"/>
                      <a:pt x="1725" y="2839"/>
                    </a:cubicBezTo>
                    <a:cubicBezTo>
                      <a:pt x="2340" y="2839"/>
                      <a:pt x="2839" y="2340"/>
                      <a:pt x="2839" y="1725"/>
                    </a:cubicBezTo>
                    <a:cubicBezTo>
                      <a:pt x="2839" y="1110"/>
                      <a:pt x="2340" y="612"/>
                      <a:pt x="1725" y="612"/>
                    </a:cubicBezTo>
                    <a:close/>
                  </a:path>
                </a:pathLst>
              </a:custGeom>
              <a:solidFill>
                <a:schemeClr val="accent4"/>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sp>
            <p:nvSpPr>
              <p:cNvPr id="30" name="Freeform 29">
                <a:extLst>
                  <a:ext uri="{FF2B5EF4-FFF2-40B4-BE49-F238E27FC236}">
                    <a16:creationId xmlns:a16="http://schemas.microsoft.com/office/drawing/2014/main" id="{BB209B13-0D4A-3841-9EC1-BF1A4702B415}"/>
                  </a:ext>
                </a:extLst>
              </p:cNvPr>
              <p:cNvSpPr/>
              <p:nvPr/>
            </p:nvSpPr>
            <p:spPr>
              <a:xfrm>
                <a:off x="5924865" y="3405038"/>
                <a:ext cx="336963" cy="490409"/>
              </a:xfrm>
              <a:custGeom>
                <a:avLst/>
                <a:gdLst/>
                <a:ahLst/>
                <a:cxnLst>
                  <a:cxn ang="3cd4">
                    <a:pos x="hc" y="t"/>
                  </a:cxn>
                  <a:cxn ang="cd2">
                    <a:pos x="l" y="vc"/>
                  </a:cxn>
                  <a:cxn ang="cd4">
                    <a:pos x="hc" y="b"/>
                  </a:cxn>
                  <a:cxn ang="0">
                    <a:pos x="r" y="vc"/>
                  </a:cxn>
                </a:cxnLst>
                <a:rect l="l" t="t" r="r" b="b"/>
                <a:pathLst>
                  <a:path w="763" h="1110">
                    <a:moveTo>
                      <a:pt x="241" y="484"/>
                    </a:moveTo>
                    <a:lnTo>
                      <a:pt x="249" y="476"/>
                    </a:lnTo>
                    <a:cubicBezTo>
                      <a:pt x="446" y="468"/>
                      <a:pt x="523" y="416"/>
                      <a:pt x="523" y="333"/>
                    </a:cubicBezTo>
                    <a:lnTo>
                      <a:pt x="523" y="330"/>
                    </a:lnTo>
                    <a:cubicBezTo>
                      <a:pt x="523" y="259"/>
                      <a:pt x="470" y="219"/>
                      <a:pt x="379" y="219"/>
                    </a:cubicBezTo>
                    <a:cubicBezTo>
                      <a:pt x="291" y="219"/>
                      <a:pt x="216" y="255"/>
                      <a:pt x="144" y="327"/>
                    </a:cubicBezTo>
                    <a:lnTo>
                      <a:pt x="0" y="169"/>
                    </a:lnTo>
                    <a:cubicBezTo>
                      <a:pt x="91" y="68"/>
                      <a:pt x="213" y="0"/>
                      <a:pt x="384" y="0"/>
                    </a:cubicBezTo>
                    <a:cubicBezTo>
                      <a:pt x="609" y="0"/>
                      <a:pt x="763" y="116"/>
                      <a:pt x="763" y="324"/>
                    </a:cubicBezTo>
                    <a:lnTo>
                      <a:pt x="763" y="327"/>
                    </a:lnTo>
                    <a:cubicBezTo>
                      <a:pt x="763" y="526"/>
                      <a:pt x="625" y="607"/>
                      <a:pt x="454" y="642"/>
                    </a:cubicBezTo>
                    <a:lnTo>
                      <a:pt x="437" y="737"/>
                    </a:lnTo>
                    <a:lnTo>
                      <a:pt x="277" y="737"/>
                    </a:lnTo>
                    <a:close/>
                    <a:moveTo>
                      <a:pt x="226" y="859"/>
                    </a:moveTo>
                    <a:lnTo>
                      <a:pt x="479" y="859"/>
                    </a:lnTo>
                    <a:lnTo>
                      <a:pt x="479" y="1110"/>
                    </a:lnTo>
                    <a:lnTo>
                      <a:pt x="226" y="1110"/>
                    </a:lnTo>
                    <a:close/>
                  </a:path>
                </a:pathLst>
              </a:custGeom>
              <a:solidFill>
                <a:srgbClr val="505050"/>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grpSp>
        <p:sp>
          <p:nvSpPr>
            <p:cNvPr id="32" name="Freeform 31">
              <a:extLst>
                <a:ext uri="{FF2B5EF4-FFF2-40B4-BE49-F238E27FC236}">
                  <a16:creationId xmlns:a16="http://schemas.microsoft.com/office/drawing/2014/main" id="{FC4D2976-875D-5341-96EA-34F5FBA65F89}"/>
                </a:ext>
              </a:extLst>
            </p:cNvPr>
            <p:cNvSpPr/>
            <p:nvPr/>
          </p:nvSpPr>
          <p:spPr>
            <a:xfrm>
              <a:off x="9074140" y="3588945"/>
              <a:ext cx="40241" cy="30512"/>
            </a:xfrm>
            <a:custGeom>
              <a:avLst/>
              <a:gdLst/>
              <a:ahLst/>
              <a:cxnLst>
                <a:cxn ang="3cd4">
                  <a:pos x="hc" y="t"/>
                </a:cxn>
                <a:cxn ang="cd2">
                  <a:pos x="l" y="vc"/>
                </a:cxn>
                <a:cxn ang="cd4">
                  <a:pos x="hc" y="b"/>
                </a:cxn>
                <a:cxn ang="0">
                  <a:pos x="r" y="vc"/>
                </a:cxn>
              </a:cxnLst>
              <a:rect l="l" t="t" r="r" b="b"/>
              <a:pathLst>
                <a:path w="92" h="70">
                  <a:moveTo>
                    <a:pt x="92" y="35"/>
                  </a:moveTo>
                  <a:cubicBezTo>
                    <a:pt x="67" y="52"/>
                    <a:pt x="52" y="72"/>
                    <a:pt x="39" y="70"/>
                  </a:cubicBezTo>
                  <a:cubicBezTo>
                    <a:pt x="25" y="69"/>
                    <a:pt x="13" y="48"/>
                    <a:pt x="0" y="36"/>
                  </a:cubicBezTo>
                  <a:cubicBezTo>
                    <a:pt x="13" y="23"/>
                    <a:pt x="24" y="2"/>
                    <a:pt x="38" y="0"/>
                  </a:cubicBezTo>
                  <a:cubicBezTo>
                    <a:pt x="51" y="-2"/>
                    <a:pt x="67" y="18"/>
                    <a:pt x="92" y="35"/>
                  </a:cubicBezTo>
                  <a:close/>
                </a:path>
              </a:pathLst>
            </a:custGeom>
            <a:solidFill>
              <a:srgbClr val="505050"/>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grpSp>
          <p:nvGrpSpPr>
            <p:cNvPr id="53" name="Group 52">
              <a:extLst>
                <a:ext uri="{FF2B5EF4-FFF2-40B4-BE49-F238E27FC236}">
                  <a16:creationId xmlns:a16="http://schemas.microsoft.com/office/drawing/2014/main" id="{A02A51FB-DA64-D64B-9267-CEB71AE07300}"/>
                </a:ext>
              </a:extLst>
            </p:cNvPr>
            <p:cNvGrpSpPr/>
            <p:nvPr/>
          </p:nvGrpSpPr>
          <p:grpSpPr>
            <a:xfrm>
              <a:off x="10356545" y="2911483"/>
              <a:ext cx="1525618" cy="1525176"/>
              <a:chOff x="8822213" y="2896057"/>
              <a:chExt cx="1525618" cy="1525176"/>
            </a:xfrm>
          </p:grpSpPr>
          <p:sp>
            <p:nvSpPr>
              <p:cNvPr id="15" name="Freeform 14">
                <a:extLst>
                  <a:ext uri="{FF2B5EF4-FFF2-40B4-BE49-F238E27FC236}">
                    <a16:creationId xmlns:a16="http://schemas.microsoft.com/office/drawing/2014/main" id="{76F44B8D-F59A-274B-9348-E433315F11F8}"/>
                  </a:ext>
                </a:extLst>
              </p:cNvPr>
              <p:cNvSpPr/>
              <p:nvPr/>
            </p:nvSpPr>
            <p:spPr>
              <a:xfrm>
                <a:off x="8822213" y="2896057"/>
                <a:ext cx="1525618" cy="1525176"/>
              </a:xfrm>
              <a:custGeom>
                <a:avLst/>
                <a:gdLst/>
                <a:ahLst/>
                <a:cxnLst>
                  <a:cxn ang="3cd4">
                    <a:pos x="hc" y="t"/>
                  </a:cxn>
                  <a:cxn ang="cd2">
                    <a:pos x="l" y="vc"/>
                  </a:cxn>
                  <a:cxn ang="cd4">
                    <a:pos x="hc" y="b"/>
                  </a:cxn>
                  <a:cxn ang="0">
                    <a:pos x="r" y="vc"/>
                  </a:cxn>
                </a:cxnLst>
                <a:rect l="l" t="t" r="r" b="b"/>
                <a:pathLst>
                  <a:path w="3451" h="3450">
                    <a:moveTo>
                      <a:pt x="1725" y="0"/>
                    </a:moveTo>
                    <a:cubicBezTo>
                      <a:pt x="2678" y="0"/>
                      <a:pt x="3451" y="772"/>
                      <a:pt x="3451" y="1725"/>
                    </a:cubicBezTo>
                    <a:cubicBezTo>
                      <a:pt x="3451" y="2678"/>
                      <a:pt x="2678" y="3450"/>
                      <a:pt x="1725" y="3450"/>
                    </a:cubicBezTo>
                    <a:cubicBezTo>
                      <a:pt x="772" y="3450"/>
                      <a:pt x="0" y="2678"/>
                      <a:pt x="0" y="1725"/>
                    </a:cubicBezTo>
                    <a:cubicBezTo>
                      <a:pt x="0" y="772"/>
                      <a:pt x="772" y="0"/>
                      <a:pt x="1725" y="0"/>
                    </a:cubicBezTo>
                    <a:close/>
                    <a:moveTo>
                      <a:pt x="1725" y="612"/>
                    </a:moveTo>
                    <a:cubicBezTo>
                      <a:pt x="1110" y="612"/>
                      <a:pt x="612" y="1110"/>
                      <a:pt x="612" y="1725"/>
                    </a:cubicBezTo>
                    <a:cubicBezTo>
                      <a:pt x="612" y="2340"/>
                      <a:pt x="1110" y="2839"/>
                      <a:pt x="1725" y="2839"/>
                    </a:cubicBezTo>
                    <a:cubicBezTo>
                      <a:pt x="2340" y="2839"/>
                      <a:pt x="2839" y="2340"/>
                      <a:pt x="2839" y="1725"/>
                    </a:cubicBezTo>
                    <a:cubicBezTo>
                      <a:pt x="2839" y="1110"/>
                      <a:pt x="2340" y="612"/>
                      <a:pt x="1725" y="612"/>
                    </a:cubicBezTo>
                    <a:close/>
                  </a:path>
                </a:pathLst>
              </a:custGeom>
              <a:solidFill>
                <a:schemeClr val="accent1"/>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sp>
            <p:nvSpPr>
              <p:cNvPr id="33" name="Freeform 32">
                <a:extLst>
                  <a:ext uri="{FF2B5EF4-FFF2-40B4-BE49-F238E27FC236}">
                    <a16:creationId xmlns:a16="http://schemas.microsoft.com/office/drawing/2014/main" id="{2A2CAB3F-5D67-6748-B60A-1854A3835C66}"/>
                  </a:ext>
                </a:extLst>
              </p:cNvPr>
              <p:cNvSpPr/>
              <p:nvPr/>
            </p:nvSpPr>
            <p:spPr>
              <a:xfrm>
                <a:off x="9309084" y="3292718"/>
                <a:ext cx="569122" cy="690729"/>
              </a:xfrm>
              <a:custGeom>
                <a:avLst/>
                <a:gdLst/>
                <a:ahLst/>
                <a:cxnLst>
                  <a:cxn ang="3cd4">
                    <a:pos x="hc" y="t"/>
                  </a:cxn>
                  <a:cxn ang="cd2">
                    <a:pos x="l" y="vc"/>
                  </a:cxn>
                  <a:cxn ang="cd4">
                    <a:pos x="hc" y="b"/>
                  </a:cxn>
                  <a:cxn ang="0">
                    <a:pos x="r" y="vc"/>
                  </a:cxn>
                </a:cxnLst>
                <a:rect l="l" t="t" r="r" b="b"/>
                <a:pathLst>
                  <a:path w="1288" h="1563">
                    <a:moveTo>
                      <a:pt x="98" y="1562"/>
                    </a:moveTo>
                    <a:cubicBezTo>
                      <a:pt x="72" y="1555"/>
                      <a:pt x="48" y="1545"/>
                      <a:pt x="30" y="1524"/>
                    </a:cubicBezTo>
                    <a:cubicBezTo>
                      <a:pt x="8" y="1500"/>
                      <a:pt x="0" y="1472"/>
                      <a:pt x="0" y="1440"/>
                    </a:cubicBezTo>
                    <a:cubicBezTo>
                      <a:pt x="0" y="1246"/>
                      <a:pt x="0" y="1053"/>
                      <a:pt x="0" y="859"/>
                    </a:cubicBezTo>
                    <a:cubicBezTo>
                      <a:pt x="0" y="666"/>
                      <a:pt x="0" y="473"/>
                      <a:pt x="0" y="281"/>
                    </a:cubicBezTo>
                    <a:cubicBezTo>
                      <a:pt x="0" y="221"/>
                      <a:pt x="31" y="178"/>
                      <a:pt x="85" y="163"/>
                    </a:cubicBezTo>
                    <a:cubicBezTo>
                      <a:pt x="98" y="160"/>
                      <a:pt x="111" y="159"/>
                      <a:pt x="124" y="159"/>
                    </a:cubicBezTo>
                    <a:cubicBezTo>
                      <a:pt x="203" y="159"/>
                      <a:pt x="281" y="159"/>
                      <a:pt x="359" y="159"/>
                    </a:cubicBezTo>
                    <a:cubicBezTo>
                      <a:pt x="369" y="159"/>
                      <a:pt x="376" y="157"/>
                      <a:pt x="382" y="148"/>
                    </a:cubicBezTo>
                    <a:cubicBezTo>
                      <a:pt x="395" y="127"/>
                      <a:pt x="415" y="117"/>
                      <a:pt x="439" y="116"/>
                    </a:cubicBezTo>
                    <a:cubicBezTo>
                      <a:pt x="454" y="115"/>
                      <a:pt x="469" y="117"/>
                      <a:pt x="484" y="115"/>
                    </a:cubicBezTo>
                    <a:cubicBezTo>
                      <a:pt x="488" y="115"/>
                      <a:pt x="496" y="111"/>
                      <a:pt x="496" y="107"/>
                    </a:cubicBezTo>
                    <a:cubicBezTo>
                      <a:pt x="525" y="5"/>
                      <a:pt x="652" y="-31"/>
                      <a:pt x="736" y="29"/>
                    </a:cubicBezTo>
                    <a:cubicBezTo>
                      <a:pt x="762" y="48"/>
                      <a:pt x="781" y="72"/>
                      <a:pt x="790" y="103"/>
                    </a:cubicBezTo>
                    <a:cubicBezTo>
                      <a:pt x="793" y="113"/>
                      <a:pt x="797" y="116"/>
                      <a:pt x="808" y="116"/>
                    </a:cubicBezTo>
                    <a:cubicBezTo>
                      <a:pt x="832" y="116"/>
                      <a:pt x="858" y="111"/>
                      <a:pt x="881" y="125"/>
                    </a:cubicBezTo>
                    <a:cubicBezTo>
                      <a:pt x="890" y="131"/>
                      <a:pt x="900" y="138"/>
                      <a:pt x="906" y="147"/>
                    </a:cubicBezTo>
                    <a:cubicBezTo>
                      <a:pt x="912" y="157"/>
                      <a:pt x="919" y="159"/>
                      <a:pt x="930" y="159"/>
                    </a:cubicBezTo>
                    <a:cubicBezTo>
                      <a:pt x="1009" y="159"/>
                      <a:pt x="1088" y="159"/>
                      <a:pt x="1167" y="159"/>
                    </a:cubicBezTo>
                    <a:cubicBezTo>
                      <a:pt x="1215" y="159"/>
                      <a:pt x="1254" y="178"/>
                      <a:pt x="1275" y="222"/>
                    </a:cubicBezTo>
                    <a:cubicBezTo>
                      <a:pt x="1283" y="239"/>
                      <a:pt x="1287" y="259"/>
                      <a:pt x="1287" y="278"/>
                    </a:cubicBezTo>
                    <a:cubicBezTo>
                      <a:pt x="1288" y="667"/>
                      <a:pt x="1288" y="1055"/>
                      <a:pt x="1288" y="1444"/>
                    </a:cubicBezTo>
                    <a:cubicBezTo>
                      <a:pt x="1288" y="1504"/>
                      <a:pt x="1255" y="1546"/>
                      <a:pt x="1196" y="1560"/>
                    </a:cubicBezTo>
                    <a:cubicBezTo>
                      <a:pt x="1194" y="1561"/>
                      <a:pt x="1193" y="1562"/>
                      <a:pt x="1191" y="1563"/>
                    </a:cubicBezTo>
                    <a:cubicBezTo>
                      <a:pt x="826" y="1562"/>
                      <a:pt x="462" y="1562"/>
                      <a:pt x="98" y="1562"/>
                    </a:cubicBezTo>
                    <a:close/>
                    <a:moveTo>
                      <a:pt x="185" y="344"/>
                    </a:moveTo>
                    <a:cubicBezTo>
                      <a:pt x="185" y="683"/>
                      <a:pt x="185" y="1022"/>
                      <a:pt x="185" y="1360"/>
                    </a:cubicBezTo>
                    <a:cubicBezTo>
                      <a:pt x="492" y="1360"/>
                      <a:pt x="797" y="1360"/>
                      <a:pt x="1103" y="1360"/>
                    </a:cubicBezTo>
                    <a:cubicBezTo>
                      <a:pt x="1103" y="1020"/>
                      <a:pt x="1103" y="683"/>
                      <a:pt x="1103" y="344"/>
                    </a:cubicBezTo>
                    <a:cubicBezTo>
                      <a:pt x="797" y="344"/>
                      <a:pt x="492" y="344"/>
                      <a:pt x="185" y="344"/>
                    </a:cubicBezTo>
                    <a:close/>
                    <a:moveTo>
                      <a:pt x="368" y="220"/>
                    </a:moveTo>
                    <a:cubicBezTo>
                      <a:pt x="359" y="220"/>
                      <a:pt x="353" y="220"/>
                      <a:pt x="346" y="220"/>
                    </a:cubicBezTo>
                    <a:cubicBezTo>
                      <a:pt x="272" y="220"/>
                      <a:pt x="198" y="220"/>
                      <a:pt x="125" y="220"/>
                    </a:cubicBezTo>
                    <a:cubicBezTo>
                      <a:pt x="81" y="220"/>
                      <a:pt x="62" y="240"/>
                      <a:pt x="62" y="284"/>
                    </a:cubicBezTo>
                    <a:cubicBezTo>
                      <a:pt x="62" y="668"/>
                      <a:pt x="62" y="1053"/>
                      <a:pt x="62" y="1437"/>
                    </a:cubicBezTo>
                    <a:cubicBezTo>
                      <a:pt x="62" y="1482"/>
                      <a:pt x="81" y="1501"/>
                      <a:pt x="126" y="1501"/>
                    </a:cubicBezTo>
                    <a:cubicBezTo>
                      <a:pt x="471" y="1501"/>
                      <a:pt x="817" y="1501"/>
                      <a:pt x="1162" y="1501"/>
                    </a:cubicBezTo>
                    <a:cubicBezTo>
                      <a:pt x="1208" y="1501"/>
                      <a:pt x="1227" y="1482"/>
                      <a:pt x="1227" y="1436"/>
                    </a:cubicBezTo>
                    <a:cubicBezTo>
                      <a:pt x="1227" y="1052"/>
                      <a:pt x="1227" y="668"/>
                      <a:pt x="1227" y="284"/>
                    </a:cubicBezTo>
                    <a:cubicBezTo>
                      <a:pt x="1227" y="240"/>
                      <a:pt x="1208" y="220"/>
                      <a:pt x="1163" y="220"/>
                    </a:cubicBezTo>
                    <a:cubicBezTo>
                      <a:pt x="1088" y="220"/>
                      <a:pt x="1013" y="220"/>
                      <a:pt x="937" y="220"/>
                    </a:cubicBezTo>
                    <a:cubicBezTo>
                      <a:pt x="932" y="220"/>
                      <a:pt x="926" y="220"/>
                      <a:pt x="921" y="221"/>
                    </a:cubicBezTo>
                    <a:cubicBezTo>
                      <a:pt x="921" y="242"/>
                      <a:pt x="921" y="260"/>
                      <a:pt x="921" y="281"/>
                    </a:cubicBezTo>
                    <a:cubicBezTo>
                      <a:pt x="927" y="281"/>
                      <a:pt x="933" y="281"/>
                      <a:pt x="938" y="281"/>
                    </a:cubicBezTo>
                    <a:cubicBezTo>
                      <a:pt x="1000" y="281"/>
                      <a:pt x="1061" y="281"/>
                      <a:pt x="1123" y="281"/>
                    </a:cubicBezTo>
                    <a:cubicBezTo>
                      <a:pt x="1154" y="281"/>
                      <a:pt x="1165" y="292"/>
                      <a:pt x="1165" y="323"/>
                    </a:cubicBezTo>
                    <a:cubicBezTo>
                      <a:pt x="1165" y="675"/>
                      <a:pt x="1165" y="1027"/>
                      <a:pt x="1165" y="1379"/>
                    </a:cubicBezTo>
                    <a:cubicBezTo>
                      <a:pt x="1165" y="1412"/>
                      <a:pt x="1155" y="1422"/>
                      <a:pt x="1121" y="1422"/>
                    </a:cubicBezTo>
                    <a:cubicBezTo>
                      <a:pt x="803" y="1422"/>
                      <a:pt x="484" y="1422"/>
                      <a:pt x="165" y="1422"/>
                    </a:cubicBezTo>
                    <a:cubicBezTo>
                      <a:pt x="133" y="1422"/>
                      <a:pt x="123" y="1412"/>
                      <a:pt x="123" y="1380"/>
                    </a:cubicBezTo>
                    <a:cubicBezTo>
                      <a:pt x="123" y="1028"/>
                      <a:pt x="123" y="676"/>
                      <a:pt x="123" y="324"/>
                    </a:cubicBezTo>
                    <a:cubicBezTo>
                      <a:pt x="123" y="292"/>
                      <a:pt x="134" y="281"/>
                      <a:pt x="166" y="281"/>
                    </a:cubicBezTo>
                    <a:cubicBezTo>
                      <a:pt x="228" y="281"/>
                      <a:pt x="290" y="281"/>
                      <a:pt x="352" y="281"/>
                    </a:cubicBezTo>
                    <a:cubicBezTo>
                      <a:pt x="357" y="281"/>
                      <a:pt x="362" y="281"/>
                      <a:pt x="368" y="281"/>
                    </a:cubicBezTo>
                    <a:cubicBezTo>
                      <a:pt x="368" y="260"/>
                      <a:pt x="368" y="241"/>
                      <a:pt x="368" y="220"/>
                    </a:cubicBezTo>
                    <a:close/>
                    <a:moveTo>
                      <a:pt x="858" y="280"/>
                    </a:moveTo>
                    <a:cubicBezTo>
                      <a:pt x="858" y="253"/>
                      <a:pt x="858" y="227"/>
                      <a:pt x="858" y="201"/>
                    </a:cubicBezTo>
                    <a:cubicBezTo>
                      <a:pt x="858" y="177"/>
                      <a:pt x="858" y="177"/>
                      <a:pt x="834" y="177"/>
                    </a:cubicBezTo>
                    <a:cubicBezTo>
                      <a:pt x="802" y="177"/>
                      <a:pt x="770" y="177"/>
                      <a:pt x="736" y="177"/>
                    </a:cubicBezTo>
                    <a:cubicBezTo>
                      <a:pt x="736" y="148"/>
                      <a:pt x="738" y="120"/>
                      <a:pt x="720" y="96"/>
                    </a:cubicBezTo>
                    <a:cubicBezTo>
                      <a:pt x="701" y="73"/>
                      <a:pt x="676" y="62"/>
                      <a:pt x="647" y="61"/>
                    </a:cubicBezTo>
                    <a:cubicBezTo>
                      <a:pt x="624" y="60"/>
                      <a:pt x="603" y="67"/>
                      <a:pt x="584" y="81"/>
                    </a:cubicBezTo>
                    <a:cubicBezTo>
                      <a:pt x="552" y="105"/>
                      <a:pt x="551" y="140"/>
                      <a:pt x="553" y="175"/>
                    </a:cubicBezTo>
                    <a:cubicBezTo>
                      <a:pt x="549" y="176"/>
                      <a:pt x="549" y="176"/>
                      <a:pt x="548" y="176"/>
                    </a:cubicBezTo>
                    <a:cubicBezTo>
                      <a:pt x="523" y="176"/>
                      <a:pt x="499" y="176"/>
                      <a:pt x="475" y="177"/>
                    </a:cubicBezTo>
                    <a:cubicBezTo>
                      <a:pt x="423" y="177"/>
                      <a:pt x="431" y="171"/>
                      <a:pt x="430" y="221"/>
                    </a:cubicBezTo>
                    <a:cubicBezTo>
                      <a:pt x="430" y="241"/>
                      <a:pt x="430" y="261"/>
                      <a:pt x="430" y="280"/>
                    </a:cubicBezTo>
                    <a:cubicBezTo>
                      <a:pt x="574" y="280"/>
                      <a:pt x="715" y="280"/>
                      <a:pt x="858" y="280"/>
                    </a:cubicBezTo>
                    <a:close/>
                  </a:path>
                </a:pathLst>
              </a:custGeom>
              <a:solidFill>
                <a:srgbClr val="505050"/>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sp>
            <p:nvSpPr>
              <p:cNvPr id="34" name="Freeform 33">
                <a:extLst>
                  <a:ext uri="{FF2B5EF4-FFF2-40B4-BE49-F238E27FC236}">
                    <a16:creationId xmlns:a16="http://schemas.microsoft.com/office/drawing/2014/main" id="{30275C8F-0635-D641-B5EC-1AC7F7EBEB38}"/>
                  </a:ext>
                </a:extLst>
              </p:cNvPr>
              <p:cNvSpPr/>
              <p:nvPr/>
            </p:nvSpPr>
            <p:spPr>
              <a:xfrm>
                <a:off x="9480219" y="3488174"/>
                <a:ext cx="226853" cy="226853"/>
              </a:xfrm>
              <a:custGeom>
                <a:avLst/>
                <a:gdLst/>
                <a:ahLst/>
                <a:cxnLst>
                  <a:cxn ang="3cd4">
                    <a:pos x="hc" y="t"/>
                  </a:cxn>
                  <a:cxn ang="cd2">
                    <a:pos x="l" y="vc"/>
                  </a:cxn>
                  <a:cxn ang="cd4">
                    <a:pos x="hc" y="b"/>
                  </a:cxn>
                  <a:cxn ang="0">
                    <a:pos x="r" y="vc"/>
                  </a:cxn>
                </a:cxnLst>
                <a:rect l="l" t="t" r="r" b="b"/>
                <a:pathLst>
                  <a:path w="514" h="514">
                    <a:moveTo>
                      <a:pt x="258" y="514"/>
                    </a:moveTo>
                    <a:cubicBezTo>
                      <a:pt x="116" y="514"/>
                      <a:pt x="1" y="400"/>
                      <a:pt x="0" y="258"/>
                    </a:cubicBezTo>
                    <a:cubicBezTo>
                      <a:pt x="-1" y="116"/>
                      <a:pt x="114" y="1"/>
                      <a:pt x="256" y="0"/>
                    </a:cubicBezTo>
                    <a:cubicBezTo>
                      <a:pt x="398" y="-1"/>
                      <a:pt x="514" y="114"/>
                      <a:pt x="514" y="257"/>
                    </a:cubicBezTo>
                    <a:cubicBezTo>
                      <a:pt x="514" y="399"/>
                      <a:pt x="400" y="513"/>
                      <a:pt x="258" y="514"/>
                    </a:cubicBezTo>
                    <a:close/>
                    <a:moveTo>
                      <a:pt x="257" y="452"/>
                    </a:moveTo>
                    <a:cubicBezTo>
                      <a:pt x="365" y="452"/>
                      <a:pt x="453" y="365"/>
                      <a:pt x="453" y="257"/>
                    </a:cubicBezTo>
                    <a:cubicBezTo>
                      <a:pt x="453" y="148"/>
                      <a:pt x="365" y="61"/>
                      <a:pt x="257" y="61"/>
                    </a:cubicBezTo>
                    <a:cubicBezTo>
                      <a:pt x="149" y="61"/>
                      <a:pt x="61" y="148"/>
                      <a:pt x="61" y="256"/>
                    </a:cubicBezTo>
                    <a:cubicBezTo>
                      <a:pt x="61" y="365"/>
                      <a:pt x="149" y="452"/>
                      <a:pt x="257" y="452"/>
                    </a:cubicBezTo>
                    <a:close/>
                  </a:path>
                </a:pathLst>
              </a:custGeom>
              <a:solidFill>
                <a:srgbClr val="505050"/>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sp>
            <p:nvSpPr>
              <p:cNvPr id="35" name="Freeform 34">
                <a:extLst>
                  <a:ext uri="{FF2B5EF4-FFF2-40B4-BE49-F238E27FC236}">
                    <a16:creationId xmlns:a16="http://schemas.microsoft.com/office/drawing/2014/main" id="{3D7BC0C7-280C-9B44-B58E-D02B78E0FB35}"/>
                  </a:ext>
                </a:extLst>
              </p:cNvPr>
              <p:cNvSpPr/>
              <p:nvPr/>
            </p:nvSpPr>
            <p:spPr>
              <a:xfrm>
                <a:off x="9527535" y="3763670"/>
                <a:ext cx="205185" cy="26975"/>
              </a:xfrm>
              <a:custGeom>
                <a:avLst/>
                <a:gdLst/>
                <a:ahLst/>
                <a:cxnLst>
                  <a:cxn ang="3cd4">
                    <a:pos x="hc" y="t"/>
                  </a:cxn>
                  <a:cxn ang="cd2">
                    <a:pos x="l" y="vc"/>
                  </a:cxn>
                  <a:cxn ang="cd4">
                    <a:pos x="hc" y="b"/>
                  </a:cxn>
                  <a:cxn ang="0">
                    <a:pos x="r" y="vc"/>
                  </a:cxn>
                </a:cxnLst>
                <a:rect l="l" t="t" r="r" b="b"/>
                <a:pathLst>
                  <a:path w="465" h="62">
                    <a:moveTo>
                      <a:pt x="231" y="62"/>
                    </a:moveTo>
                    <a:cubicBezTo>
                      <a:pt x="168" y="62"/>
                      <a:pt x="105" y="62"/>
                      <a:pt x="42" y="62"/>
                    </a:cubicBezTo>
                    <a:cubicBezTo>
                      <a:pt x="36" y="62"/>
                      <a:pt x="30" y="62"/>
                      <a:pt x="24" y="60"/>
                    </a:cubicBezTo>
                    <a:cubicBezTo>
                      <a:pt x="10" y="58"/>
                      <a:pt x="1" y="46"/>
                      <a:pt x="0" y="32"/>
                    </a:cubicBezTo>
                    <a:cubicBezTo>
                      <a:pt x="0" y="18"/>
                      <a:pt x="8" y="6"/>
                      <a:pt x="22" y="3"/>
                    </a:cubicBezTo>
                    <a:cubicBezTo>
                      <a:pt x="28" y="1"/>
                      <a:pt x="36" y="1"/>
                      <a:pt x="43" y="1"/>
                    </a:cubicBezTo>
                    <a:cubicBezTo>
                      <a:pt x="169" y="0"/>
                      <a:pt x="296" y="0"/>
                      <a:pt x="422" y="0"/>
                    </a:cubicBezTo>
                    <a:cubicBezTo>
                      <a:pt x="429" y="0"/>
                      <a:pt x="436" y="1"/>
                      <a:pt x="442" y="2"/>
                    </a:cubicBezTo>
                    <a:cubicBezTo>
                      <a:pt x="456" y="6"/>
                      <a:pt x="465" y="17"/>
                      <a:pt x="465" y="32"/>
                    </a:cubicBezTo>
                    <a:cubicBezTo>
                      <a:pt x="464" y="47"/>
                      <a:pt x="454" y="58"/>
                      <a:pt x="440" y="60"/>
                    </a:cubicBezTo>
                    <a:cubicBezTo>
                      <a:pt x="434" y="61"/>
                      <a:pt x="428" y="62"/>
                      <a:pt x="421" y="62"/>
                    </a:cubicBezTo>
                    <a:cubicBezTo>
                      <a:pt x="359" y="62"/>
                      <a:pt x="295" y="62"/>
                      <a:pt x="231" y="62"/>
                    </a:cubicBezTo>
                    <a:close/>
                  </a:path>
                </a:pathLst>
              </a:custGeom>
              <a:solidFill>
                <a:srgbClr val="505050"/>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sp>
            <p:nvSpPr>
              <p:cNvPr id="36" name="Freeform 35">
                <a:extLst>
                  <a:ext uri="{FF2B5EF4-FFF2-40B4-BE49-F238E27FC236}">
                    <a16:creationId xmlns:a16="http://schemas.microsoft.com/office/drawing/2014/main" id="{304E67BD-40AA-5640-97B6-00D7580BE1A1}"/>
                  </a:ext>
                </a:extLst>
              </p:cNvPr>
              <p:cNvSpPr/>
              <p:nvPr/>
            </p:nvSpPr>
            <p:spPr>
              <a:xfrm>
                <a:off x="9527535" y="3829117"/>
                <a:ext cx="205185" cy="26532"/>
              </a:xfrm>
              <a:custGeom>
                <a:avLst/>
                <a:gdLst/>
                <a:ahLst/>
                <a:cxnLst>
                  <a:cxn ang="3cd4">
                    <a:pos x="hc" y="t"/>
                  </a:cxn>
                  <a:cxn ang="cd2">
                    <a:pos x="l" y="vc"/>
                  </a:cxn>
                  <a:cxn ang="cd4">
                    <a:pos x="hc" y="b"/>
                  </a:cxn>
                  <a:cxn ang="0">
                    <a:pos x="r" y="vc"/>
                  </a:cxn>
                </a:cxnLst>
                <a:rect l="l" t="t" r="r" b="b"/>
                <a:pathLst>
                  <a:path w="465" h="61">
                    <a:moveTo>
                      <a:pt x="234" y="0"/>
                    </a:moveTo>
                    <a:cubicBezTo>
                      <a:pt x="299" y="0"/>
                      <a:pt x="363" y="0"/>
                      <a:pt x="428" y="0"/>
                    </a:cubicBezTo>
                    <a:cubicBezTo>
                      <a:pt x="452" y="0"/>
                      <a:pt x="465" y="11"/>
                      <a:pt x="465" y="31"/>
                    </a:cubicBezTo>
                    <a:cubicBezTo>
                      <a:pt x="465" y="45"/>
                      <a:pt x="456" y="56"/>
                      <a:pt x="442" y="59"/>
                    </a:cubicBezTo>
                    <a:cubicBezTo>
                      <a:pt x="436" y="61"/>
                      <a:pt x="428" y="61"/>
                      <a:pt x="421" y="61"/>
                    </a:cubicBezTo>
                    <a:cubicBezTo>
                      <a:pt x="296" y="61"/>
                      <a:pt x="170" y="61"/>
                      <a:pt x="44" y="61"/>
                    </a:cubicBezTo>
                    <a:cubicBezTo>
                      <a:pt x="38" y="61"/>
                      <a:pt x="31" y="61"/>
                      <a:pt x="25" y="59"/>
                    </a:cubicBezTo>
                    <a:cubicBezTo>
                      <a:pt x="9" y="56"/>
                      <a:pt x="0" y="44"/>
                      <a:pt x="0" y="29"/>
                    </a:cubicBezTo>
                    <a:cubicBezTo>
                      <a:pt x="0" y="14"/>
                      <a:pt x="11" y="3"/>
                      <a:pt x="26" y="0"/>
                    </a:cubicBezTo>
                    <a:cubicBezTo>
                      <a:pt x="32" y="0"/>
                      <a:pt x="38" y="0"/>
                      <a:pt x="45" y="0"/>
                    </a:cubicBezTo>
                    <a:cubicBezTo>
                      <a:pt x="108" y="0"/>
                      <a:pt x="171" y="0"/>
                      <a:pt x="234" y="0"/>
                    </a:cubicBezTo>
                    <a:close/>
                  </a:path>
                </a:pathLst>
              </a:custGeom>
              <a:solidFill>
                <a:srgbClr val="505050"/>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sp>
            <p:nvSpPr>
              <p:cNvPr id="37" name="Freeform 36">
                <a:extLst>
                  <a:ext uri="{FF2B5EF4-FFF2-40B4-BE49-F238E27FC236}">
                    <a16:creationId xmlns:a16="http://schemas.microsoft.com/office/drawing/2014/main" id="{A10E0B75-C876-C541-B24D-5F16F152D47B}"/>
                  </a:ext>
                </a:extLst>
              </p:cNvPr>
              <p:cNvSpPr/>
              <p:nvPr/>
            </p:nvSpPr>
            <p:spPr>
              <a:xfrm>
                <a:off x="9454571" y="3829117"/>
                <a:ext cx="56160" cy="26090"/>
              </a:xfrm>
              <a:custGeom>
                <a:avLst/>
                <a:gdLst/>
                <a:ahLst/>
                <a:cxnLst>
                  <a:cxn ang="3cd4">
                    <a:pos x="hc" y="t"/>
                  </a:cxn>
                  <a:cxn ang="cd2">
                    <a:pos x="l" y="vc"/>
                  </a:cxn>
                  <a:cxn ang="cd4">
                    <a:pos x="hc" y="b"/>
                  </a:cxn>
                  <a:cxn ang="0">
                    <a:pos x="r" y="vc"/>
                  </a:cxn>
                </a:cxnLst>
                <a:rect l="l" t="t" r="r" b="b"/>
                <a:pathLst>
                  <a:path w="128" h="60">
                    <a:moveTo>
                      <a:pt x="64" y="1"/>
                    </a:moveTo>
                    <a:cubicBezTo>
                      <a:pt x="76" y="1"/>
                      <a:pt x="89" y="0"/>
                      <a:pt x="101" y="1"/>
                    </a:cubicBezTo>
                    <a:cubicBezTo>
                      <a:pt x="117" y="2"/>
                      <a:pt x="127" y="15"/>
                      <a:pt x="128" y="29"/>
                    </a:cubicBezTo>
                    <a:cubicBezTo>
                      <a:pt x="129" y="44"/>
                      <a:pt x="119" y="58"/>
                      <a:pt x="103" y="59"/>
                    </a:cubicBezTo>
                    <a:cubicBezTo>
                      <a:pt x="76" y="61"/>
                      <a:pt x="50" y="61"/>
                      <a:pt x="23" y="59"/>
                    </a:cubicBezTo>
                    <a:cubicBezTo>
                      <a:pt x="8" y="58"/>
                      <a:pt x="-1" y="44"/>
                      <a:pt x="0" y="29"/>
                    </a:cubicBezTo>
                    <a:cubicBezTo>
                      <a:pt x="0" y="15"/>
                      <a:pt x="10" y="4"/>
                      <a:pt x="25" y="1"/>
                    </a:cubicBezTo>
                    <a:cubicBezTo>
                      <a:pt x="27" y="1"/>
                      <a:pt x="29" y="0"/>
                      <a:pt x="31" y="0"/>
                    </a:cubicBezTo>
                    <a:cubicBezTo>
                      <a:pt x="42" y="0"/>
                      <a:pt x="53" y="0"/>
                      <a:pt x="64" y="0"/>
                    </a:cubicBezTo>
                    <a:close/>
                  </a:path>
                </a:pathLst>
              </a:custGeom>
              <a:solidFill>
                <a:srgbClr val="505050"/>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sp>
            <p:nvSpPr>
              <p:cNvPr id="38" name="Freeform 37">
                <a:extLst>
                  <a:ext uri="{FF2B5EF4-FFF2-40B4-BE49-F238E27FC236}">
                    <a16:creationId xmlns:a16="http://schemas.microsoft.com/office/drawing/2014/main" id="{7DC53DC6-4483-9A49-856B-15B43FBAD885}"/>
                  </a:ext>
                </a:extLst>
              </p:cNvPr>
              <p:cNvSpPr/>
              <p:nvPr/>
            </p:nvSpPr>
            <p:spPr>
              <a:xfrm>
                <a:off x="9454571" y="3764554"/>
                <a:ext cx="56160" cy="26090"/>
              </a:xfrm>
              <a:custGeom>
                <a:avLst/>
                <a:gdLst/>
                <a:ahLst/>
                <a:cxnLst>
                  <a:cxn ang="3cd4">
                    <a:pos x="hc" y="t"/>
                  </a:cxn>
                  <a:cxn ang="cd2">
                    <a:pos x="l" y="vc"/>
                  </a:cxn>
                  <a:cxn ang="cd4">
                    <a:pos x="hc" y="b"/>
                  </a:cxn>
                  <a:cxn ang="0">
                    <a:pos x="r" y="vc"/>
                  </a:cxn>
                </a:cxnLst>
                <a:rect l="l" t="t" r="r" b="b"/>
                <a:pathLst>
                  <a:path w="128" h="60">
                    <a:moveTo>
                      <a:pt x="63" y="59"/>
                    </a:moveTo>
                    <a:cubicBezTo>
                      <a:pt x="51" y="59"/>
                      <a:pt x="39" y="60"/>
                      <a:pt x="27" y="59"/>
                    </a:cubicBezTo>
                    <a:cubicBezTo>
                      <a:pt x="11" y="58"/>
                      <a:pt x="1" y="46"/>
                      <a:pt x="0" y="31"/>
                    </a:cubicBezTo>
                    <a:cubicBezTo>
                      <a:pt x="-1" y="15"/>
                      <a:pt x="8" y="2"/>
                      <a:pt x="24" y="1"/>
                    </a:cubicBezTo>
                    <a:cubicBezTo>
                      <a:pt x="50" y="0"/>
                      <a:pt x="77" y="0"/>
                      <a:pt x="103" y="1"/>
                    </a:cubicBezTo>
                    <a:cubicBezTo>
                      <a:pt x="118" y="1"/>
                      <a:pt x="128" y="16"/>
                      <a:pt x="128" y="30"/>
                    </a:cubicBezTo>
                    <a:cubicBezTo>
                      <a:pt x="127" y="45"/>
                      <a:pt x="116" y="57"/>
                      <a:pt x="101" y="59"/>
                    </a:cubicBezTo>
                    <a:cubicBezTo>
                      <a:pt x="100" y="59"/>
                      <a:pt x="98" y="60"/>
                      <a:pt x="97" y="60"/>
                    </a:cubicBezTo>
                    <a:cubicBezTo>
                      <a:pt x="86" y="60"/>
                      <a:pt x="75" y="60"/>
                      <a:pt x="63" y="60"/>
                    </a:cubicBezTo>
                    <a:close/>
                  </a:path>
                </a:pathLst>
              </a:custGeom>
              <a:solidFill>
                <a:srgbClr val="505050"/>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sp>
            <p:nvSpPr>
              <p:cNvPr id="39" name="Freeform 38">
                <a:extLst>
                  <a:ext uri="{FF2B5EF4-FFF2-40B4-BE49-F238E27FC236}">
                    <a16:creationId xmlns:a16="http://schemas.microsoft.com/office/drawing/2014/main" id="{60A080B4-F871-FC4A-8783-510662E52EAE}"/>
                  </a:ext>
                </a:extLst>
              </p:cNvPr>
              <p:cNvSpPr/>
              <p:nvPr/>
            </p:nvSpPr>
            <p:spPr>
              <a:xfrm>
                <a:off x="9572198" y="3338708"/>
                <a:ext cx="42894" cy="42452"/>
              </a:xfrm>
              <a:custGeom>
                <a:avLst/>
                <a:gdLst/>
                <a:ahLst/>
                <a:cxnLst>
                  <a:cxn ang="3cd4">
                    <a:pos x="hc" y="t"/>
                  </a:cxn>
                  <a:cxn ang="cd2">
                    <a:pos x="l" y="vc"/>
                  </a:cxn>
                  <a:cxn ang="cd4">
                    <a:pos x="hc" y="b"/>
                  </a:cxn>
                  <a:cxn ang="0">
                    <a:pos x="r" y="vc"/>
                  </a:cxn>
                </a:cxnLst>
                <a:rect l="l" t="t" r="r" b="b"/>
                <a:pathLst>
                  <a:path w="98" h="97">
                    <a:moveTo>
                      <a:pt x="48" y="97"/>
                    </a:moveTo>
                    <a:cubicBezTo>
                      <a:pt x="20" y="97"/>
                      <a:pt x="-1" y="74"/>
                      <a:pt x="0" y="47"/>
                    </a:cubicBezTo>
                    <a:cubicBezTo>
                      <a:pt x="2" y="20"/>
                      <a:pt x="24" y="-1"/>
                      <a:pt x="51" y="0"/>
                    </a:cubicBezTo>
                    <a:cubicBezTo>
                      <a:pt x="78" y="1"/>
                      <a:pt x="99" y="24"/>
                      <a:pt x="98" y="51"/>
                    </a:cubicBezTo>
                    <a:cubicBezTo>
                      <a:pt x="97" y="77"/>
                      <a:pt x="75" y="98"/>
                      <a:pt x="48" y="97"/>
                    </a:cubicBezTo>
                    <a:close/>
                    <a:moveTo>
                      <a:pt x="49" y="66"/>
                    </a:moveTo>
                    <a:cubicBezTo>
                      <a:pt x="55" y="58"/>
                      <a:pt x="61" y="53"/>
                      <a:pt x="60" y="49"/>
                    </a:cubicBezTo>
                    <a:cubicBezTo>
                      <a:pt x="60" y="45"/>
                      <a:pt x="53" y="41"/>
                      <a:pt x="50" y="37"/>
                    </a:cubicBezTo>
                    <a:cubicBezTo>
                      <a:pt x="46" y="41"/>
                      <a:pt x="39" y="44"/>
                      <a:pt x="38" y="49"/>
                    </a:cubicBezTo>
                    <a:cubicBezTo>
                      <a:pt x="37" y="53"/>
                      <a:pt x="43" y="58"/>
                      <a:pt x="49" y="66"/>
                    </a:cubicBezTo>
                    <a:close/>
                  </a:path>
                </a:pathLst>
              </a:custGeom>
              <a:solidFill>
                <a:srgbClr val="505050"/>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sp>
            <p:nvSpPr>
              <p:cNvPr id="40" name="Freeform 39">
                <a:extLst>
                  <a:ext uri="{FF2B5EF4-FFF2-40B4-BE49-F238E27FC236}">
                    <a16:creationId xmlns:a16="http://schemas.microsoft.com/office/drawing/2014/main" id="{F9AE2ABC-DD33-774A-81DE-D4539C2E463B}"/>
                  </a:ext>
                </a:extLst>
              </p:cNvPr>
              <p:cNvSpPr/>
              <p:nvPr/>
            </p:nvSpPr>
            <p:spPr>
              <a:xfrm>
                <a:off x="9543012" y="3559812"/>
                <a:ext cx="114090" cy="91095"/>
              </a:xfrm>
              <a:custGeom>
                <a:avLst/>
                <a:gdLst/>
                <a:ahLst/>
                <a:cxnLst>
                  <a:cxn ang="3cd4">
                    <a:pos x="hc" y="t"/>
                  </a:cxn>
                  <a:cxn ang="cd2">
                    <a:pos x="l" y="vc"/>
                  </a:cxn>
                  <a:cxn ang="cd4">
                    <a:pos x="hc" y="b"/>
                  </a:cxn>
                  <a:cxn ang="0">
                    <a:pos x="r" y="vc"/>
                  </a:cxn>
                </a:cxnLst>
                <a:rect l="l" t="t" r="r" b="b"/>
                <a:pathLst>
                  <a:path w="259" h="207">
                    <a:moveTo>
                      <a:pt x="82" y="134"/>
                    </a:moveTo>
                    <a:cubicBezTo>
                      <a:pt x="122" y="94"/>
                      <a:pt x="160" y="56"/>
                      <a:pt x="198" y="18"/>
                    </a:cubicBezTo>
                    <a:cubicBezTo>
                      <a:pt x="204" y="13"/>
                      <a:pt x="209" y="7"/>
                      <a:pt x="215" y="4"/>
                    </a:cubicBezTo>
                    <a:cubicBezTo>
                      <a:pt x="226" y="-3"/>
                      <a:pt x="241" y="-1"/>
                      <a:pt x="251" y="9"/>
                    </a:cubicBezTo>
                    <a:cubicBezTo>
                      <a:pt x="260" y="19"/>
                      <a:pt x="262" y="34"/>
                      <a:pt x="255" y="46"/>
                    </a:cubicBezTo>
                    <a:cubicBezTo>
                      <a:pt x="252" y="50"/>
                      <a:pt x="248" y="55"/>
                      <a:pt x="244" y="58"/>
                    </a:cubicBezTo>
                    <a:cubicBezTo>
                      <a:pt x="200" y="103"/>
                      <a:pt x="156" y="147"/>
                      <a:pt x="112" y="191"/>
                    </a:cubicBezTo>
                    <a:cubicBezTo>
                      <a:pt x="90" y="212"/>
                      <a:pt x="76" y="212"/>
                      <a:pt x="55" y="191"/>
                    </a:cubicBezTo>
                    <a:cubicBezTo>
                      <a:pt x="40" y="177"/>
                      <a:pt x="26" y="163"/>
                      <a:pt x="13" y="149"/>
                    </a:cubicBezTo>
                    <a:cubicBezTo>
                      <a:pt x="-3" y="133"/>
                      <a:pt x="-4" y="115"/>
                      <a:pt x="9" y="102"/>
                    </a:cubicBezTo>
                    <a:cubicBezTo>
                      <a:pt x="22" y="90"/>
                      <a:pt x="40" y="91"/>
                      <a:pt x="55" y="105"/>
                    </a:cubicBezTo>
                    <a:cubicBezTo>
                      <a:pt x="60" y="110"/>
                      <a:pt x="64" y="114"/>
                      <a:pt x="68" y="118"/>
                    </a:cubicBezTo>
                    <a:cubicBezTo>
                      <a:pt x="73" y="123"/>
                      <a:pt x="77" y="128"/>
                      <a:pt x="82" y="134"/>
                    </a:cubicBezTo>
                    <a:close/>
                  </a:path>
                </a:pathLst>
              </a:custGeom>
              <a:solidFill>
                <a:srgbClr val="505050"/>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ysClr val="windowText" lastClr="000000"/>
                  </a:solidFill>
                  <a:effectLst/>
                  <a:uLnTx/>
                  <a:uFillTx/>
                  <a:latin typeface="Arial" pitchFamily="18"/>
                  <a:ea typeface="Arial Unicode MS" pitchFamily="2"/>
                  <a:cs typeface="Arial Unicode MS" pitchFamily="2"/>
                </a:endParaRPr>
              </a:p>
            </p:txBody>
          </p:sp>
        </p:grpSp>
      </p:grpSp>
      <p:sp>
        <p:nvSpPr>
          <p:cNvPr id="41" name="Rectangle 40">
            <a:extLst>
              <a:ext uri="{FF2B5EF4-FFF2-40B4-BE49-F238E27FC236}">
                <a16:creationId xmlns:a16="http://schemas.microsoft.com/office/drawing/2014/main" id="{E4FD4DC2-6385-1945-B5AA-574FBFE61C98}"/>
              </a:ext>
            </a:extLst>
          </p:cNvPr>
          <p:cNvSpPr/>
          <p:nvPr/>
        </p:nvSpPr>
        <p:spPr>
          <a:xfrm>
            <a:off x="3340849" y="4899445"/>
            <a:ext cx="3941752" cy="1200329"/>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dirty="0">
                <a:ln>
                  <a:noFill/>
                </a:ln>
                <a:solidFill>
                  <a:schemeClr val="accent6"/>
                </a:solidFill>
                <a:effectLst/>
                <a:uLnTx/>
                <a:uFillTx/>
                <a:latin typeface="Arial"/>
                <a:ea typeface="+mn-ea"/>
                <a:cs typeface="+mn-cs"/>
              </a:rPr>
              <a:t>Business drivers – why Secure Network Gateway?</a:t>
            </a:r>
          </a:p>
          <a:p>
            <a:pPr lvl="0" algn="ctr">
              <a:defRPr/>
            </a:pPr>
            <a:r>
              <a:rPr lang="en-GB" sz="1200" dirty="0">
                <a:solidFill>
                  <a:srgbClr val="000000"/>
                </a:solidFill>
                <a:latin typeface="Arial"/>
              </a:rPr>
              <a:t>The bank had experienced a short-term compelling event as its legacy security equipment was reaching end of life. It needed a security solution that could support its strategic transformation from on-premises infrastructure to hybrid cloud services.  </a:t>
            </a:r>
          </a:p>
        </p:txBody>
      </p:sp>
      <p:sp>
        <p:nvSpPr>
          <p:cNvPr id="43" name="Rectangle 42">
            <a:extLst>
              <a:ext uri="{FF2B5EF4-FFF2-40B4-BE49-F238E27FC236}">
                <a16:creationId xmlns:a16="http://schemas.microsoft.com/office/drawing/2014/main" id="{8209793B-5EB2-E140-A667-7A92F50ADE4D}"/>
              </a:ext>
            </a:extLst>
          </p:cNvPr>
          <p:cNvSpPr/>
          <p:nvPr/>
        </p:nvSpPr>
        <p:spPr>
          <a:xfrm>
            <a:off x="3413861" y="988037"/>
            <a:ext cx="3765148" cy="1384995"/>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dirty="0">
                <a:ln>
                  <a:noFill/>
                </a:ln>
                <a:solidFill>
                  <a:schemeClr val="accent6"/>
                </a:solidFill>
                <a:effectLst/>
                <a:uLnTx/>
                <a:uFillTx/>
                <a:latin typeface="Arial"/>
                <a:ea typeface="+mn-ea"/>
                <a:cs typeface="+mn-cs"/>
              </a:rPr>
              <a:t>The solu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ja-JP" sz="1200" b="0" i="0" u="none" strike="noStrike" kern="1200" cap="none" spc="0" normalizeH="0" baseline="0" dirty="0">
                <a:ln>
                  <a:noFill/>
                </a:ln>
                <a:solidFill>
                  <a:srgbClr val="000000"/>
                </a:solidFill>
                <a:effectLst/>
                <a:uLnTx/>
                <a:uFillTx/>
                <a:latin typeface="Arial"/>
                <a:ea typeface="+mn-ea"/>
                <a:cs typeface="+mn-cs"/>
              </a:rPr>
              <a:t>Colt </a:t>
            </a:r>
            <a:r>
              <a:rPr lang="en-GB" altLang="ja-JP" sz="1200" dirty="0">
                <a:solidFill>
                  <a:srgbClr val="000000"/>
                </a:solidFill>
                <a:latin typeface="Arial"/>
              </a:rPr>
              <a:t>S</a:t>
            </a:r>
            <a:r>
              <a:rPr kumimoji="0" lang="en-GB" altLang="ja-JP" sz="1200" b="0" i="0" u="none" strike="noStrike" kern="1200" cap="none" spc="0" normalizeH="0" baseline="0" dirty="0">
                <a:ln>
                  <a:noFill/>
                </a:ln>
                <a:solidFill>
                  <a:srgbClr val="000000"/>
                </a:solidFill>
                <a:effectLst/>
                <a:uLnTx/>
                <a:uFillTx/>
                <a:latin typeface="Arial"/>
                <a:ea typeface="+mn-ea"/>
                <a:cs typeface="+mn-cs"/>
              </a:rPr>
              <a:t>ecure Network Gateway, a cloud-native security service edge (SSE) platform, delivered through an opex model in partnership with market leader Zscaler. Unlike competitor solutions, the best-in-class feature-rich Zscaler solution passed critical use cases.</a:t>
            </a:r>
            <a:endParaRPr kumimoji="0" lang="en-GB" altLang="ja-JP" sz="1200" b="0" i="0" u="none" strike="noStrike" kern="1200" cap="none" spc="0" normalizeH="0" baseline="0" dirty="0">
              <a:ln>
                <a:noFill/>
              </a:ln>
              <a:solidFill>
                <a:srgbClr val="000000"/>
              </a:solidFill>
              <a:effectLst/>
              <a:uLnTx/>
              <a:uFillTx/>
              <a:latin typeface="Arial"/>
              <a:ea typeface="+mn-ea"/>
              <a:cs typeface="Arial"/>
            </a:endParaRPr>
          </a:p>
        </p:txBody>
      </p:sp>
      <p:sp>
        <p:nvSpPr>
          <p:cNvPr id="44" name="Rectangle 43">
            <a:extLst>
              <a:ext uri="{FF2B5EF4-FFF2-40B4-BE49-F238E27FC236}">
                <a16:creationId xmlns:a16="http://schemas.microsoft.com/office/drawing/2014/main" id="{4AFB9CE7-F70B-AF41-8701-E6494294E6A7}"/>
              </a:ext>
            </a:extLst>
          </p:cNvPr>
          <p:cNvSpPr/>
          <p:nvPr/>
        </p:nvSpPr>
        <p:spPr>
          <a:xfrm>
            <a:off x="7812347" y="4899445"/>
            <a:ext cx="4018979" cy="1200329"/>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dirty="0">
                <a:ln>
                  <a:noFill/>
                </a:ln>
                <a:solidFill>
                  <a:schemeClr val="accent6"/>
                </a:solidFill>
                <a:effectLst/>
                <a:uLnTx/>
                <a:uFillTx/>
                <a:latin typeface="Arial"/>
                <a:ea typeface="+mn-ea"/>
                <a:cs typeface="+mn-cs"/>
              </a:rPr>
              <a:t>Why Colt?</a:t>
            </a:r>
          </a:p>
          <a:p>
            <a:pPr lvl="0" algn="ctr">
              <a:defRPr/>
            </a:pPr>
            <a:r>
              <a:rPr lang="en-GB" sz="1200" kern="0" dirty="0">
                <a:solidFill>
                  <a:srgbClr val="000000"/>
                </a:solidFill>
              </a:rPr>
              <a:t>The bank’s existing partnership with Colt for WAN connectivity engendered trust in Colt’s recommendation for the cloud-based security platform. The bank also enjoys the convenience of having Colt as its single provider of both networking and security solutions.</a:t>
            </a:r>
          </a:p>
        </p:txBody>
      </p:sp>
      <p:sp>
        <p:nvSpPr>
          <p:cNvPr id="46" name="Rectangle 45">
            <a:extLst>
              <a:ext uri="{FF2B5EF4-FFF2-40B4-BE49-F238E27FC236}">
                <a16:creationId xmlns:a16="http://schemas.microsoft.com/office/drawing/2014/main" id="{4AE85DD1-2729-AC47-8F07-B51055921827}"/>
              </a:ext>
            </a:extLst>
          </p:cNvPr>
          <p:cNvSpPr/>
          <p:nvPr/>
        </p:nvSpPr>
        <p:spPr>
          <a:xfrm>
            <a:off x="7817738" y="988037"/>
            <a:ext cx="3765148" cy="1200329"/>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dirty="0">
                <a:ln>
                  <a:noFill/>
                </a:ln>
                <a:solidFill>
                  <a:schemeClr val="accent6"/>
                </a:solidFill>
                <a:effectLst/>
                <a:uLnTx/>
                <a:uFillTx/>
                <a:latin typeface="Arial"/>
                <a:ea typeface="+mn-ea"/>
                <a:cs typeface="+mn-cs"/>
              </a:rPr>
              <a:t>The result</a:t>
            </a:r>
          </a:p>
          <a:p>
            <a:pPr lvl="0" algn="ctr">
              <a:defRPr/>
            </a:pPr>
            <a:r>
              <a:rPr lang="en-GB" sz="1200" kern="0" dirty="0">
                <a:solidFill>
                  <a:srgbClr val="000000"/>
                </a:solidFill>
                <a:latin typeface="Arial"/>
                <a:cs typeface="Arial"/>
              </a:rPr>
              <a:t>Secure Network Gateway fits the bank’s cloud and managed services strategies and its drive towards Zero Trust hybrid working. The bank is experiencing improvements in its security posture, and knows the solution can easily evolve to meet future needs.  </a:t>
            </a:r>
            <a:endParaRPr kumimoji="0" lang="en-GB" sz="1200" b="0" i="0" u="none" strike="noStrike" kern="0" cap="none" spc="0" normalizeH="0" baseline="0" dirty="0">
              <a:ln>
                <a:noFill/>
              </a:ln>
              <a:solidFill>
                <a:srgbClr val="000000"/>
              </a:solidFill>
              <a:effectLst/>
              <a:uLnTx/>
              <a:uFillTx/>
              <a:latin typeface="Arial"/>
              <a:ea typeface="+mn-ea"/>
              <a:cs typeface="Arial"/>
            </a:endParaRPr>
          </a:p>
        </p:txBody>
      </p:sp>
      <p:sp>
        <p:nvSpPr>
          <p:cNvPr id="56" name="Freeform 13">
            <a:extLst>
              <a:ext uri="{FF2B5EF4-FFF2-40B4-BE49-F238E27FC236}">
                <a16:creationId xmlns:a16="http://schemas.microsoft.com/office/drawing/2014/main" id="{D8CD90CD-8C68-4EF8-964B-F8DD5A302D93}"/>
              </a:ext>
            </a:extLst>
          </p:cNvPr>
          <p:cNvSpPr/>
          <p:nvPr/>
        </p:nvSpPr>
        <p:spPr>
          <a:xfrm>
            <a:off x="8588173" y="2808624"/>
            <a:ext cx="1407831" cy="1407423"/>
          </a:xfrm>
          <a:custGeom>
            <a:avLst/>
            <a:gdLst/>
            <a:ahLst/>
            <a:cxnLst>
              <a:cxn ang="3cd4">
                <a:pos x="hc" y="t"/>
              </a:cxn>
              <a:cxn ang="cd2">
                <a:pos x="l" y="vc"/>
              </a:cxn>
              <a:cxn ang="cd4">
                <a:pos x="hc" y="b"/>
              </a:cxn>
              <a:cxn ang="0">
                <a:pos x="r" y="vc"/>
              </a:cxn>
            </a:cxnLst>
            <a:rect l="l" t="t" r="r" b="b"/>
            <a:pathLst>
              <a:path w="3451" h="3450">
                <a:moveTo>
                  <a:pt x="1725" y="0"/>
                </a:moveTo>
                <a:cubicBezTo>
                  <a:pt x="2678" y="0"/>
                  <a:pt x="3451" y="772"/>
                  <a:pt x="3451" y="1725"/>
                </a:cubicBezTo>
                <a:cubicBezTo>
                  <a:pt x="3451" y="2678"/>
                  <a:pt x="2678" y="3450"/>
                  <a:pt x="1725" y="3450"/>
                </a:cubicBezTo>
                <a:cubicBezTo>
                  <a:pt x="772" y="3450"/>
                  <a:pt x="0" y="2678"/>
                  <a:pt x="0" y="1725"/>
                </a:cubicBezTo>
                <a:cubicBezTo>
                  <a:pt x="0" y="772"/>
                  <a:pt x="773" y="0"/>
                  <a:pt x="1725" y="0"/>
                </a:cubicBezTo>
                <a:close/>
                <a:moveTo>
                  <a:pt x="1725" y="612"/>
                </a:moveTo>
                <a:cubicBezTo>
                  <a:pt x="1110" y="612"/>
                  <a:pt x="612" y="1110"/>
                  <a:pt x="612" y="1725"/>
                </a:cubicBezTo>
                <a:cubicBezTo>
                  <a:pt x="612" y="2340"/>
                  <a:pt x="1110" y="2839"/>
                  <a:pt x="1725" y="2839"/>
                </a:cubicBezTo>
                <a:cubicBezTo>
                  <a:pt x="2340" y="2839"/>
                  <a:pt x="2839" y="2340"/>
                  <a:pt x="2839" y="1725"/>
                </a:cubicBezTo>
                <a:cubicBezTo>
                  <a:pt x="2839" y="1110"/>
                  <a:pt x="2340" y="612"/>
                  <a:pt x="1725" y="612"/>
                </a:cubicBezTo>
                <a:close/>
              </a:path>
            </a:pathLst>
          </a:custGeom>
          <a:solidFill>
            <a:schemeClr val="accent6"/>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itchFamily="18"/>
              <a:ea typeface="Arial Unicode MS" pitchFamily="2"/>
              <a:cs typeface="Arial Unicode MS" pitchFamily="2"/>
            </a:endParaRPr>
          </a:p>
        </p:txBody>
      </p:sp>
      <p:sp>
        <p:nvSpPr>
          <p:cNvPr id="58" name="Freeform 30">
            <a:extLst>
              <a:ext uri="{FF2B5EF4-FFF2-40B4-BE49-F238E27FC236}">
                <a16:creationId xmlns:a16="http://schemas.microsoft.com/office/drawing/2014/main" id="{40675802-FF55-4D51-97EA-21D8DE9DC27F}"/>
              </a:ext>
            </a:extLst>
          </p:cNvPr>
          <p:cNvSpPr/>
          <p:nvPr/>
        </p:nvSpPr>
        <p:spPr>
          <a:xfrm>
            <a:off x="8918300" y="3246830"/>
            <a:ext cx="744722" cy="580271"/>
          </a:xfrm>
          <a:custGeom>
            <a:avLst/>
            <a:gdLst/>
            <a:ahLst/>
            <a:cxnLst>
              <a:cxn ang="3cd4">
                <a:pos x="hc" y="t"/>
              </a:cxn>
              <a:cxn ang="cd2">
                <a:pos x="l" y="vc"/>
              </a:cxn>
              <a:cxn ang="cd4">
                <a:pos x="hc" y="b"/>
              </a:cxn>
              <a:cxn ang="0">
                <a:pos x="r" y="vc"/>
              </a:cxn>
            </a:cxnLst>
            <a:rect l="l" t="t" r="r" b="b"/>
            <a:pathLst>
              <a:path w="1826" h="1423">
                <a:moveTo>
                  <a:pt x="0" y="464"/>
                </a:moveTo>
                <a:cubicBezTo>
                  <a:pt x="142" y="323"/>
                  <a:pt x="284" y="182"/>
                  <a:pt x="426" y="41"/>
                </a:cubicBezTo>
                <a:cubicBezTo>
                  <a:pt x="439" y="29"/>
                  <a:pt x="447" y="12"/>
                  <a:pt x="456" y="0"/>
                </a:cubicBezTo>
                <a:cubicBezTo>
                  <a:pt x="550" y="95"/>
                  <a:pt x="636" y="181"/>
                  <a:pt x="725" y="270"/>
                </a:cubicBezTo>
                <a:cubicBezTo>
                  <a:pt x="720" y="275"/>
                  <a:pt x="711" y="287"/>
                  <a:pt x="700" y="302"/>
                </a:cubicBezTo>
                <a:cubicBezTo>
                  <a:pt x="759" y="326"/>
                  <a:pt x="815" y="349"/>
                  <a:pt x="871" y="371"/>
                </a:cubicBezTo>
                <a:cubicBezTo>
                  <a:pt x="882" y="375"/>
                  <a:pt x="899" y="373"/>
                  <a:pt x="910" y="368"/>
                </a:cubicBezTo>
                <a:cubicBezTo>
                  <a:pt x="979" y="343"/>
                  <a:pt x="1047" y="316"/>
                  <a:pt x="1109" y="292"/>
                </a:cubicBezTo>
                <a:cubicBezTo>
                  <a:pt x="1114" y="272"/>
                  <a:pt x="1114" y="252"/>
                  <a:pt x="1123" y="243"/>
                </a:cubicBezTo>
                <a:cubicBezTo>
                  <a:pt x="1202" y="161"/>
                  <a:pt x="1282" y="82"/>
                  <a:pt x="1357" y="7"/>
                </a:cubicBezTo>
                <a:cubicBezTo>
                  <a:pt x="1512" y="163"/>
                  <a:pt x="1666" y="317"/>
                  <a:pt x="1826" y="477"/>
                </a:cubicBezTo>
                <a:cubicBezTo>
                  <a:pt x="1789" y="512"/>
                  <a:pt x="1744" y="556"/>
                  <a:pt x="1699" y="601"/>
                </a:cubicBezTo>
                <a:cubicBezTo>
                  <a:pt x="1664" y="635"/>
                  <a:pt x="1629" y="669"/>
                  <a:pt x="1596" y="705"/>
                </a:cubicBezTo>
                <a:cubicBezTo>
                  <a:pt x="1578" y="723"/>
                  <a:pt x="1563" y="735"/>
                  <a:pt x="1545" y="699"/>
                </a:cubicBezTo>
                <a:cubicBezTo>
                  <a:pt x="1492" y="768"/>
                  <a:pt x="1443" y="832"/>
                  <a:pt x="1395" y="897"/>
                </a:cubicBezTo>
                <a:cubicBezTo>
                  <a:pt x="1389" y="905"/>
                  <a:pt x="1390" y="919"/>
                  <a:pt x="1393" y="930"/>
                </a:cubicBezTo>
                <a:cubicBezTo>
                  <a:pt x="1407" y="1007"/>
                  <a:pt x="1381" y="1053"/>
                  <a:pt x="1309" y="1081"/>
                </a:cubicBezTo>
                <a:cubicBezTo>
                  <a:pt x="1297" y="1086"/>
                  <a:pt x="1290" y="1100"/>
                  <a:pt x="1280" y="1110"/>
                </a:cubicBezTo>
                <a:cubicBezTo>
                  <a:pt x="1280" y="1111"/>
                  <a:pt x="1279" y="1113"/>
                  <a:pt x="1279" y="1114"/>
                </a:cubicBezTo>
                <a:cubicBezTo>
                  <a:pt x="1264" y="1169"/>
                  <a:pt x="1203" y="1174"/>
                  <a:pt x="1177" y="1207"/>
                </a:cubicBezTo>
                <a:cubicBezTo>
                  <a:pt x="1147" y="1244"/>
                  <a:pt x="1135" y="1293"/>
                  <a:pt x="1081" y="1308"/>
                </a:cubicBezTo>
                <a:cubicBezTo>
                  <a:pt x="1071" y="1311"/>
                  <a:pt x="1059" y="1323"/>
                  <a:pt x="1055" y="1333"/>
                </a:cubicBezTo>
                <a:cubicBezTo>
                  <a:pt x="1024" y="1411"/>
                  <a:pt x="977" y="1438"/>
                  <a:pt x="894" y="1416"/>
                </a:cubicBezTo>
                <a:cubicBezTo>
                  <a:pt x="857" y="1406"/>
                  <a:pt x="808" y="1396"/>
                  <a:pt x="790" y="1370"/>
                </a:cubicBezTo>
                <a:cubicBezTo>
                  <a:pt x="761" y="1327"/>
                  <a:pt x="722" y="1301"/>
                  <a:pt x="688" y="1267"/>
                </a:cubicBezTo>
                <a:cubicBezTo>
                  <a:pt x="646" y="1224"/>
                  <a:pt x="604" y="1184"/>
                  <a:pt x="563" y="1142"/>
                </a:cubicBezTo>
                <a:cubicBezTo>
                  <a:pt x="529" y="1107"/>
                  <a:pt x="504" y="1067"/>
                  <a:pt x="459" y="1041"/>
                </a:cubicBezTo>
                <a:cubicBezTo>
                  <a:pt x="421" y="1020"/>
                  <a:pt x="413" y="976"/>
                  <a:pt x="419" y="931"/>
                </a:cubicBezTo>
                <a:cubicBezTo>
                  <a:pt x="421" y="911"/>
                  <a:pt x="417" y="886"/>
                  <a:pt x="407" y="869"/>
                </a:cubicBezTo>
                <a:cubicBezTo>
                  <a:pt x="374" y="812"/>
                  <a:pt x="338" y="757"/>
                  <a:pt x="302" y="700"/>
                </a:cubicBezTo>
                <a:cubicBezTo>
                  <a:pt x="289" y="710"/>
                  <a:pt x="278" y="719"/>
                  <a:pt x="265" y="729"/>
                </a:cubicBezTo>
                <a:cubicBezTo>
                  <a:pt x="177" y="644"/>
                  <a:pt x="89" y="558"/>
                  <a:pt x="1" y="473"/>
                </a:cubicBezTo>
                <a:cubicBezTo>
                  <a:pt x="0" y="470"/>
                  <a:pt x="0" y="467"/>
                  <a:pt x="0" y="464"/>
                </a:cubicBezTo>
                <a:close/>
                <a:moveTo>
                  <a:pt x="479" y="838"/>
                </a:moveTo>
                <a:cubicBezTo>
                  <a:pt x="574" y="766"/>
                  <a:pt x="645" y="785"/>
                  <a:pt x="691" y="891"/>
                </a:cubicBezTo>
                <a:cubicBezTo>
                  <a:pt x="695" y="901"/>
                  <a:pt x="709" y="910"/>
                  <a:pt x="720" y="913"/>
                </a:cubicBezTo>
                <a:cubicBezTo>
                  <a:pt x="798" y="937"/>
                  <a:pt x="805" y="1039"/>
                  <a:pt x="886" y="1061"/>
                </a:cubicBezTo>
                <a:cubicBezTo>
                  <a:pt x="899" y="1064"/>
                  <a:pt x="905" y="1093"/>
                  <a:pt x="916" y="1109"/>
                </a:cubicBezTo>
                <a:cubicBezTo>
                  <a:pt x="924" y="1121"/>
                  <a:pt x="933" y="1131"/>
                  <a:pt x="943" y="1140"/>
                </a:cubicBezTo>
                <a:cubicBezTo>
                  <a:pt x="970" y="1165"/>
                  <a:pt x="1004" y="1184"/>
                  <a:pt x="1024" y="1213"/>
                </a:cubicBezTo>
                <a:cubicBezTo>
                  <a:pt x="1042" y="1238"/>
                  <a:pt x="1057" y="1240"/>
                  <a:pt x="1076" y="1226"/>
                </a:cubicBezTo>
                <a:cubicBezTo>
                  <a:pt x="1102" y="1206"/>
                  <a:pt x="1099" y="1181"/>
                  <a:pt x="1077" y="1159"/>
                </a:cubicBezTo>
                <a:cubicBezTo>
                  <a:pt x="1049" y="1131"/>
                  <a:pt x="1021" y="1102"/>
                  <a:pt x="993" y="1075"/>
                </a:cubicBezTo>
                <a:cubicBezTo>
                  <a:pt x="973" y="1055"/>
                  <a:pt x="955" y="1033"/>
                  <a:pt x="979" y="1008"/>
                </a:cubicBezTo>
                <a:cubicBezTo>
                  <a:pt x="1003" y="982"/>
                  <a:pt x="1026" y="998"/>
                  <a:pt x="1045" y="1018"/>
                </a:cubicBezTo>
                <a:cubicBezTo>
                  <a:pt x="1072" y="1046"/>
                  <a:pt x="1099" y="1072"/>
                  <a:pt x="1126" y="1100"/>
                </a:cubicBezTo>
                <a:cubicBezTo>
                  <a:pt x="1147" y="1120"/>
                  <a:pt x="1169" y="1134"/>
                  <a:pt x="1193" y="1110"/>
                </a:cubicBezTo>
                <a:cubicBezTo>
                  <a:pt x="1219" y="1084"/>
                  <a:pt x="1206" y="1060"/>
                  <a:pt x="1184" y="1039"/>
                </a:cubicBezTo>
                <a:cubicBezTo>
                  <a:pt x="1156" y="1011"/>
                  <a:pt x="1125" y="985"/>
                  <a:pt x="1101" y="953"/>
                </a:cubicBezTo>
                <a:cubicBezTo>
                  <a:pt x="1091" y="939"/>
                  <a:pt x="1095" y="914"/>
                  <a:pt x="1092" y="894"/>
                </a:cubicBezTo>
                <a:cubicBezTo>
                  <a:pt x="1112" y="896"/>
                  <a:pt x="1138" y="891"/>
                  <a:pt x="1152" y="901"/>
                </a:cubicBezTo>
                <a:cubicBezTo>
                  <a:pt x="1182" y="923"/>
                  <a:pt x="1207" y="953"/>
                  <a:pt x="1234" y="980"/>
                </a:cubicBezTo>
                <a:cubicBezTo>
                  <a:pt x="1256" y="1003"/>
                  <a:pt x="1280" y="1022"/>
                  <a:pt x="1308" y="995"/>
                </a:cubicBezTo>
                <a:cubicBezTo>
                  <a:pt x="1337" y="966"/>
                  <a:pt x="1315" y="943"/>
                  <a:pt x="1294" y="921"/>
                </a:cubicBezTo>
                <a:cubicBezTo>
                  <a:pt x="1223" y="851"/>
                  <a:pt x="1155" y="779"/>
                  <a:pt x="1082" y="712"/>
                </a:cubicBezTo>
                <a:cubicBezTo>
                  <a:pt x="995" y="632"/>
                  <a:pt x="955" y="610"/>
                  <a:pt x="864" y="704"/>
                </a:cubicBezTo>
                <a:cubicBezTo>
                  <a:pt x="813" y="756"/>
                  <a:pt x="739" y="754"/>
                  <a:pt x="692" y="705"/>
                </a:cubicBezTo>
                <a:cubicBezTo>
                  <a:pt x="646" y="656"/>
                  <a:pt x="648" y="586"/>
                  <a:pt x="700" y="533"/>
                </a:cubicBezTo>
                <a:cubicBezTo>
                  <a:pt x="733" y="500"/>
                  <a:pt x="770" y="469"/>
                  <a:pt x="811" y="431"/>
                </a:cubicBezTo>
                <a:cubicBezTo>
                  <a:pt x="751" y="406"/>
                  <a:pt x="702" y="385"/>
                  <a:pt x="653" y="367"/>
                </a:cubicBezTo>
                <a:cubicBezTo>
                  <a:pt x="645" y="364"/>
                  <a:pt x="631" y="368"/>
                  <a:pt x="625" y="374"/>
                </a:cubicBezTo>
                <a:cubicBezTo>
                  <a:pt x="535" y="463"/>
                  <a:pt x="446" y="552"/>
                  <a:pt x="356" y="642"/>
                </a:cubicBezTo>
                <a:cubicBezTo>
                  <a:pt x="397" y="708"/>
                  <a:pt x="437" y="772"/>
                  <a:pt x="479" y="838"/>
                </a:cubicBezTo>
                <a:close/>
                <a:moveTo>
                  <a:pt x="1330" y="854"/>
                </a:moveTo>
                <a:cubicBezTo>
                  <a:pt x="1385" y="782"/>
                  <a:pt x="1436" y="716"/>
                  <a:pt x="1488" y="647"/>
                </a:cubicBezTo>
                <a:cubicBezTo>
                  <a:pt x="1390" y="549"/>
                  <a:pt x="1294" y="453"/>
                  <a:pt x="1197" y="358"/>
                </a:cubicBezTo>
                <a:cubicBezTo>
                  <a:pt x="1190" y="351"/>
                  <a:pt x="1169" y="352"/>
                  <a:pt x="1157" y="356"/>
                </a:cubicBezTo>
                <a:cubicBezTo>
                  <a:pt x="1097" y="378"/>
                  <a:pt x="1039" y="408"/>
                  <a:pt x="978" y="423"/>
                </a:cubicBezTo>
                <a:cubicBezTo>
                  <a:pt x="877" y="449"/>
                  <a:pt x="816" y="523"/>
                  <a:pt x="751" y="593"/>
                </a:cubicBezTo>
                <a:cubicBezTo>
                  <a:pt x="740" y="604"/>
                  <a:pt x="749" y="632"/>
                  <a:pt x="749" y="653"/>
                </a:cubicBezTo>
                <a:cubicBezTo>
                  <a:pt x="769" y="652"/>
                  <a:pt x="793" y="658"/>
                  <a:pt x="809" y="649"/>
                </a:cubicBezTo>
                <a:cubicBezTo>
                  <a:pt x="832" y="638"/>
                  <a:pt x="845" y="608"/>
                  <a:pt x="868" y="600"/>
                </a:cubicBezTo>
                <a:cubicBezTo>
                  <a:pt x="911" y="583"/>
                  <a:pt x="963" y="559"/>
                  <a:pt x="1003" y="570"/>
                </a:cubicBezTo>
                <a:cubicBezTo>
                  <a:pt x="1053" y="583"/>
                  <a:pt x="1097" y="624"/>
                  <a:pt x="1137" y="660"/>
                </a:cubicBezTo>
                <a:cubicBezTo>
                  <a:pt x="1203" y="720"/>
                  <a:pt x="1264" y="787"/>
                  <a:pt x="1330" y="854"/>
                </a:cubicBezTo>
                <a:close/>
                <a:moveTo>
                  <a:pt x="1566" y="609"/>
                </a:moveTo>
                <a:cubicBezTo>
                  <a:pt x="1618" y="560"/>
                  <a:pt x="1670" y="511"/>
                  <a:pt x="1714" y="469"/>
                </a:cubicBezTo>
                <a:cubicBezTo>
                  <a:pt x="1597" y="351"/>
                  <a:pt x="1480" y="232"/>
                  <a:pt x="1369" y="119"/>
                </a:cubicBezTo>
                <a:cubicBezTo>
                  <a:pt x="1321" y="168"/>
                  <a:pt x="1270" y="218"/>
                  <a:pt x="1222" y="265"/>
                </a:cubicBezTo>
                <a:cubicBezTo>
                  <a:pt x="1336" y="379"/>
                  <a:pt x="1454" y="496"/>
                  <a:pt x="1566" y="609"/>
                </a:cubicBezTo>
                <a:close/>
                <a:moveTo>
                  <a:pt x="265" y="614"/>
                </a:moveTo>
                <a:cubicBezTo>
                  <a:pt x="381" y="498"/>
                  <a:pt x="499" y="380"/>
                  <a:pt x="613" y="265"/>
                </a:cubicBezTo>
                <a:cubicBezTo>
                  <a:pt x="566" y="217"/>
                  <a:pt x="516" y="167"/>
                  <a:pt x="468" y="119"/>
                </a:cubicBezTo>
                <a:cubicBezTo>
                  <a:pt x="352" y="235"/>
                  <a:pt x="234" y="354"/>
                  <a:pt x="120" y="469"/>
                </a:cubicBezTo>
                <a:cubicBezTo>
                  <a:pt x="166" y="515"/>
                  <a:pt x="217" y="566"/>
                  <a:pt x="265" y="614"/>
                </a:cubicBezTo>
                <a:close/>
                <a:moveTo>
                  <a:pt x="813" y="1099"/>
                </a:moveTo>
                <a:cubicBezTo>
                  <a:pt x="774" y="1099"/>
                  <a:pt x="715" y="1158"/>
                  <a:pt x="722" y="1182"/>
                </a:cubicBezTo>
                <a:cubicBezTo>
                  <a:pt x="727" y="1199"/>
                  <a:pt x="760" y="1222"/>
                  <a:pt x="761" y="1221"/>
                </a:cubicBezTo>
                <a:cubicBezTo>
                  <a:pt x="790" y="1196"/>
                  <a:pt x="818" y="1169"/>
                  <a:pt x="841" y="1138"/>
                </a:cubicBezTo>
                <a:cubicBezTo>
                  <a:pt x="845" y="1134"/>
                  <a:pt x="820" y="1109"/>
                  <a:pt x="813" y="1099"/>
                </a:cubicBezTo>
                <a:close/>
                <a:moveTo>
                  <a:pt x="955" y="1240"/>
                </a:moveTo>
                <a:cubicBezTo>
                  <a:pt x="946" y="1234"/>
                  <a:pt x="931" y="1218"/>
                  <a:pt x="914" y="1215"/>
                </a:cubicBezTo>
                <a:cubicBezTo>
                  <a:pt x="887" y="1211"/>
                  <a:pt x="829" y="1271"/>
                  <a:pt x="836" y="1296"/>
                </a:cubicBezTo>
                <a:cubicBezTo>
                  <a:pt x="841" y="1312"/>
                  <a:pt x="861" y="1330"/>
                  <a:pt x="877" y="1334"/>
                </a:cubicBezTo>
                <a:cubicBezTo>
                  <a:pt x="903" y="1340"/>
                  <a:pt x="957" y="1280"/>
                  <a:pt x="955" y="1240"/>
                </a:cubicBezTo>
                <a:close/>
                <a:moveTo>
                  <a:pt x="615" y="900"/>
                </a:moveTo>
                <a:cubicBezTo>
                  <a:pt x="606" y="894"/>
                  <a:pt x="580" y="872"/>
                  <a:pt x="576" y="875"/>
                </a:cubicBezTo>
                <a:cubicBezTo>
                  <a:pt x="546" y="899"/>
                  <a:pt x="521" y="928"/>
                  <a:pt x="494" y="956"/>
                </a:cubicBezTo>
                <a:cubicBezTo>
                  <a:pt x="508" y="969"/>
                  <a:pt x="520" y="990"/>
                  <a:pt x="536" y="993"/>
                </a:cubicBezTo>
                <a:cubicBezTo>
                  <a:pt x="562" y="1000"/>
                  <a:pt x="616" y="940"/>
                  <a:pt x="615" y="900"/>
                </a:cubicBezTo>
                <a:close/>
                <a:moveTo>
                  <a:pt x="729" y="1015"/>
                </a:moveTo>
                <a:cubicBezTo>
                  <a:pt x="720" y="1008"/>
                  <a:pt x="695" y="985"/>
                  <a:pt x="691" y="988"/>
                </a:cubicBezTo>
                <a:cubicBezTo>
                  <a:pt x="660" y="1012"/>
                  <a:pt x="634" y="1041"/>
                  <a:pt x="607" y="1068"/>
                </a:cubicBezTo>
                <a:cubicBezTo>
                  <a:pt x="620" y="1081"/>
                  <a:pt x="632" y="1102"/>
                  <a:pt x="648" y="1106"/>
                </a:cubicBezTo>
                <a:cubicBezTo>
                  <a:pt x="674" y="1113"/>
                  <a:pt x="730" y="1054"/>
                  <a:pt x="729" y="1015"/>
                </a:cubicBezTo>
                <a:close/>
              </a:path>
            </a:pathLst>
          </a:custGeom>
          <a:solidFill>
            <a:srgbClr val="505050"/>
          </a:solidFill>
          <a:ln cap="flat">
            <a:noFill/>
            <a:prstDash val="solid"/>
          </a:ln>
        </p:spPr>
        <p:txBody>
          <a:bodyPr vert="horz" wrap="none" lIns="90000" tIns="45000" rIns="90000" bIns="45000" anchor="ctr" anchorCtr="1" compatLnSpc="0"/>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Arial" pitchFamily="18"/>
              <a:ea typeface="Arial Unicode MS" pitchFamily="2"/>
              <a:cs typeface="Arial Unicode MS" pitchFamily="2"/>
            </a:endParaRPr>
          </a:p>
        </p:txBody>
      </p:sp>
      <p:sp>
        <p:nvSpPr>
          <p:cNvPr id="51" name="Rectangle 50">
            <a:extLst>
              <a:ext uri="{FF2B5EF4-FFF2-40B4-BE49-F238E27FC236}">
                <a16:creationId xmlns:a16="http://schemas.microsoft.com/office/drawing/2014/main" id="{DF390146-63F3-4A2F-8AD2-B1468C5A8C07}"/>
              </a:ext>
            </a:extLst>
          </p:cNvPr>
          <p:cNvSpPr/>
          <p:nvPr/>
        </p:nvSpPr>
        <p:spPr>
          <a:xfrm>
            <a:off x="348977" y="2112525"/>
            <a:ext cx="2111287" cy="32316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1"/>
                </a:solidFill>
                <a:effectLst/>
                <a:uLnTx/>
                <a:uFillTx/>
                <a:latin typeface="Arial"/>
                <a:ea typeface="+mn-ea"/>
                <a:cs typeface="+mn-cs"/>
              </a:rPr>
              <a:t>Cli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latin typeface="Arial"/>
              </a:rPr>
              <a:t>Private bank</a:t>
            </a:r>
            <a:br>
              <a:rPr kumimoji="0" lang="en-GB" sz="1200" b="1" i="0" u="none" strike="noStrike" kern="1200" cap="none" spc="0" normalizeH="0" baseline="0" noProof="0" dirty="0">
                <a:ln>
                  <a:noFill/>
                </a:ln>
                <a:solidFill>
                  <a:srgbClr val="000000"/>
                </a:solidFill>
                <a:effectLst/>
                <a:uLnTx/>
                <a:uFillTx/>
                <a:latin typeface="Arial"/>
                <a:ea typeface="+mn-ea"/>
                <a:cs typeface="+mn-cs"/>
              </a:rPr>
            </a:b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lvl="0" algn="ctr">
              <a:defRPr/>
            </a:pPr>
            <a:r>
              <a:rPr lang="en-GB" sz="1200" b="1" dirty="0">
                <a:solidFill>
                  <a:schemeClr val="accent1"/>
                </a:solidFill>
              </a:rPr>
              <a:t>Partner</a:t>
            </a:r>
          </a:p>
          <a:p>
            <a:pPr lvl="0" algn="ctr">
              <a:defRPr/>
            </a:pPr>
            <a:r>
              <a:rPr lang="en-GB" sz="1200" dirty="0">
                <a:solidFill>
                  <a:srgbClr val="000000"/>
                </a:solidFill>
              </a:rPr>
              <a:t>Zscaler</a:t>
            </a:r>
          </a:p>
          <a:p>
            <a:pPr lvl="0" algn="ctr">
              <a:defRPr/>
            </a:pPr>
            <a:endParaRPr lang="en-GB" sz="1200" dirty="0">
              <a:solidFill>
                <a:srgbClr val="000000"/>
              </a:solidFill>
            </a:endParaRPr>
          </a:p>
          <a:p>
            <a:pPr lvl="0" algn="ctr">
              <a:defRPr/>
            </a:pPr>
            <a:r>
              <a:rPr kumimoji="0" lang="en-GB" sz="1200" b="1" i="0" u="none" strike="noStrike" kern="1200" cap="none" spc="0" normalizeH="0" baseline="0" noProof="0" dirty="0">
                <a:ln>
                  <a:noFill/>
                </a:ln>
                <a:solidFill>
                  <a:srgbClr val="00D7BD"/>
                </a:solidFill>
                <a:effectLst/>
                <a:uLnTx/>
                <a:uFillTx/>
                <a:latin typeface="Arial"/>
                <a:ea typeface="+mn-ea"/>
                <a:cs typeface="+mn-cs"/>
              </a:rPr>
              <a:t>Sector</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latin typeface="Arial"/>
              </a:rPr>
              <a:t>Financial services</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GB" sz="1200" b="0" i="0" u="none" strike="noStrike" kern="1200" cap="none" spc="0" normalizeH="0" baseline="0" noProof="0" dirty="0">
                <a:ln>
                  <a:noFill/>
                </a:ln>
                <a:solidFill>
                  <a:srgbClr val="000000"/>
                </a:solidFill>
                <a:effectLst/>
                <a:uLnTx/>
                <a:uFillTx/>
                <a:latin typeface="Arial"/>
                <a:ea typeface="+mn-ea"/>
                <a:cs typeface="+mn-cs"/>
              </a:rPr>
            </a:br>
            <a:r>
              <a:rPr kumimoji="0" lang="en-GB" sz="1200" b="1" i="0" u="none" strike="noStrike" kern="1200" cap="none" spc="0" normalizeH="0" baseline="0" noProof="0" dirty="0">
                <a:ln>
                  <a:noFill/>
                </a:ln>
                <a:solidFill>
                  <a:schemeClr val="accent1"/>
                </a:solidFill>
                <a:effectLst/>
                <a:uLnTx/>
                <a:uFillTx/>
                <a:latin typeface="Arial"/>
                <a:ea typeface="+mn-ea"/>
                <a:cs typeface="+mn-cs"/>
              </a:rPr>
              <a:t>Products and services</a:t>
            </a:r>
            <a:r>
              <a:rPr kumimoji="0" lang="en-GB" sz="1200" b="0" i="0" u="none" strike="noStrike" kern="1200" cap="none" spc="0" normalizeH="0" baseline="0" noProof="0" dirty="0">
                <a:ln>
                  <a:noFill/>
                </a:ln>
                <a:solidFill>
                  <a:schemeClr val="accent1"/>
                </a:solidFill>
                <a:effectLst/>
                <a:uLnTx/>
                <a:uFillTx/>
                <a:latin typeface="Arial"/>
                <a:ea typeface="+mn-ea"/>
                <a:cs typeface="+mn-cs"/>
              </a:rPr>
              <a:t> </a:t>
            </a:r>
            <a:br>
              <a:rPr kumimoji="0" lang="en-GB" sz="1200" b="0" i="0" u="none" strike="noStrike" kern="1200" cap="none" spc="0" normalizeH="0" baseline="0" noProof="0" dirty="0">
                <a:ln>
                  <a:noFill/>
                </a:ln>
                <a:solidFill>
                  <a:srgbClr val="000000"/>
                </a:solidFill>
                <a:effectLst/>
                <a:uLnTx/>
                <a:uFillTx/>
                <a:latin typeface="Arial"/>
                <a:ea typeface="+mn-ea"/>
                <a:cs typeface="+mn-cs"/>
              </a:rPr>
            </a:br>
            <a:r>
              <a:rPr kumimoji="0" lang="en-GB" sz="1200" b="0" i="0" u="none" strike="noStrike" kern="1200" cap="none" spc="0" normalizeH="0" baseline="0" noProof="0" dirty="0">
                <a:ln>
                  <a:noFill/>
                </a:ln>
                <a:solidFill>
                  <a:srgbClr val="000000"/>
                </a:solidFill>
                <a:effectLst/>
                <a:uLnTx/>
                <a:uFillTx/>
                <a:latin typeface="Arial"/>
                <a:ea typeface="+mn-ea"/>
                <a:cs typeface="+mn-cs"/>
              </a:rPr>
              <a:t>Secure Network Gateway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1"/>
                </a:solidFill>
                <a:effectLst/>
                <a:uLnTx/>
                <a:uFillTx/>
                <a:latin typeface="Arial"/>
                <a:ea typeface="+mn-ea"/>
                <a:cs typeface="+mn-cs"/>
              </a:rPr>
              <a:t>Locations</a:t>
            </a:r>
          </a:p>
          <a:p>
            <a:pPr lvl="0" algn="ctr">
              <a:defRPr/>
            </a:pPr>
            <a:r>
              <a:rPr lang="en-GB" sz="1200" dirty="0">
                <a:solidFill>
                  <a:srgbClr val="000000"/>
                </a:solidFill>
              </a:rPr>
              <a:t>Multiple European location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chemeClr val="accent1"/>
                </a:solidFill>
                <a:latin typeface="Arial"/>
              </a:rPr>
              <a:t>Number of employe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000000"/>
                </a:solidFill>
                <a:effectLst/>
                <a:uLnTx/>
                <a:uFillTx/>
                <a:latin typeface="Arial"/>
                <a:ea typeface="+mn-ea"/>
                <a:cs typeface="+mn-cs"/>
              </a:rPr>
              <a:t>~2,000</a:t>
            </a:r>
          </a:p>
        </p:txBody>
      </p:sp>
      <p:cxnSp>
        <p:nvCxnSpPr>
          <p:cNvPr id="57" name="Straight Connector 56">
            <a:extLst>
              <a:ext uri="{FF2B5EF4-FFF2-40B4-BE49-F238E27FC236}">
                <a16:creationId xmlns:a16="http://schemas.microsoft.com/office/drawing/2014/main" id="{0ACB7CFC-6263-4FF4-B2BD-73A00ABB85EB}"/>
              </a:ext>
            </a:extLst>
          </p:cNvPr>
          <p:cNvCxnSpPr>
            <a:cxnSpLocks/>
          </p:cNvCxnSpPr>
          <p:nvPr/>
        </p:nvCxnSpPr>
        <p:spPr>
          <a:xfrm>
            <a:off x="2860672" y="1117898"/>
            <a:ext cx="0" cy="5220909"/>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59" name="Straight Arrow Connector 58">
            <a:extLst>
              <a:ext uri="{FF2B5EF4-FFF2-40B4-BE49-F238E27FC236}">
                <a16:creationId xmlns:a16="http://schemas.microsoft.com/office/drawing/2014/main" id="{2E874BAB-10B3-4034-B6BA-DBF26B8C6BE2}"/>
              </a:ext>
            </a:extLst>
          </p:cNvPr>
          <p:cNvCxnSpPr/>
          <p:nvPr/>
        </p:nvCxnSpPr>
        <p:spPr>
          <a:xfrm>
            <a:off x="2852516" y="3429000"/>
            <a:ext cx="488333" cy="0"/>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0662C712-0E2D-44BD-B078-428CFB736E90}"/>
              </a:ext>
            </a:extLst>
          </p:cNvPr>
          <p:cNvCxnSpPr/>
          <p:nvPr/>
        </p:nvCxnSpPr>
        <p:spPr>
          <a:xfrm flipH="1">
            <a:off x="2310348" y="1117898"/>
            <a:ext cx="546278" cy="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E443AF29-317F-4A2D-A2C1-19FA12B6C3A8}"/>
              </a:ext>
            </a:extLst>
          </p:cNvPr>
          <p:cNvCxnSpPr/>
          <p:nvPr/>
        </p:nvCxnSpPr>
        <p:spPr>
          <a:xfrm flipH="1">
            <a:off x="2310348" y="6323308"/>
            <a:ext cx="546278" cy="0"/>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4BE49CBE-83D7-4D41-991D-27CD4E4F323D}"/>
              </a:ext>
            </a:extLst>
          </p:cNvPr>
          <p:cNvSpPr txBox="1"/>
          <p:nvPr/>
        </p:nvSpPr>
        <p:spPr>
          <a:xfrm>
            <a:off x="9284677" y="3432517"/>
            <a:ext cx="0" cy="0"/>
          </a:xfrm>
          <a:prstGeom prst="rect">
            <a:avLst/>
          </a:prstGeom>
          <a:noFill/>
        </p:spPr>
        <p:txBody>
          <a:bodyPr wrap="none" lIns="0" tIns="0" rIns="0" bIns="0" rtlCol="0">
            <a:noAutofit/>
          </a:bodyPr>
          <a:lstStyle/>
          <a:p>
            <a:pPr algn="l">
              <a:lnSpc>
                <a:spcPts val="2290"/>
              </a:lnSpc>
            </a:pPr>
            <a:endParaRPr sz="1940" dirty="0">
              <a:solidFill>
                <a:schemeClr val="tx2"/>
              </a:solidFill>
            </a:endParaRPr>
          </a:p>
        </p:txBody>
      </p:sp>
      <p:cxnSp>
        <p:nvCxnSpPr>
          <p:cNvPr id="9" name="Elbow Connector 8">
            <a:extLst>
              <a:ext uri="{FF2B5EF4-FFF2-40B4-BE49-F238E27FC236}">
                <a16:creationId xmlns:a16="http://schemas.microsoft.com/office/drawing/2014/main" id="{9D35B722-3D66-404D-82E4-564A0D6C4336}"/>
              </a:ext>
            </a:extLst>
          </p:cNvPr>
          <p:cNvCxnSpPr>
            <a:cxnSpLocks/>
            <a:stCxn id="15" idx="0"/>
            <a:endCxn id="46" idx="2"/>
          </p:cNvCxnSpPr>
          <p:nvPr/>
        </p:nvCxnSpPr>
        <p:spPr>
          <a:xfrm rot="16200000" flipV="1">
            <a:off x="9973274" y="1915405"/>
            <a:ext cx="632735" cy="1178658"/>
          </a:xfrm>
          <a:prstGeom prst="bentConnector3">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2" name="Elbow Connector 51">
            <a:extLst>
              <a:ext uri="{FF2B5EF4-FFF2-40B4-BE49-F238E27FC236}">
                <a16:creationId xmlns:a16="http://schemas.microsoft.com/office/drawing/2014/main" id="{9372326D-284B-5545-B873-F63540B2EB8C}"/>
              </a:ext>
            </a:extLst>
          </p:cNvPr>
          <p:cNvCxnSpPr>
            <a:cxnSpLocks/>
            <a:stCxn id="11" idx="0"/>
            <a:endCxn id="43" idx="2"/>
          </p:cNvCxnSpPr>
          <p:nvPr/>
        </p:nvCxnSpPr>
        <p:spPr>
          <a:xfrm rot="16200000" flipV="1">
            <a:off x="5446076" y="2223392"/>
            <a:ext cx="448069" cy="747350"/>
          </a:xfrm>
          <a:prstGeom prst="bentConnector3">
            <a:avLst>
              <a:gd name="adj1" fmla="val 50000"/>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2" name="Elbow Connector 61">
            <a:extLst>
              <a:ext uri="{FF2B5EF4-FFF2-40B4-BE49-F238E27FC236}">
                <a16:creationId xmlns:a16="http://schemas.microsoft.com/office/drawing/2014/main" id="{40B4DD5B-40F6-D84C-8EE5-5211BD25F650}"/>
              </a:ext>
            </a:extLst>
          </p:cNvPr>
          <p:cNvCxnSpPr>
            <a:cxnSpLocks/>
            <a:stCxn id="41" idx="0"/>
            <a:endCxn id="10" idx="2"/>
          </p:cNvCxnSpPr>
          <p:nvPr/>
        </p:nvCxnSpPr>
        <p:spPr>
          <a:xfrm rot="16200000" flipV="1">
            <a:off x="4536362" y="4124082"/>
            <a:ext cx="670922" cy="879804"/>
          </a:xfrm>
          <a:prstGeom prst="bentConnector3">
            <a:avLst>
              <a:gd name="adj1" fmla="val 50000"/>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4" name="Elbow Connector 63">
            <a:extLst>
              <a:ext uri="{FF2B5EF4-FFF2-40B4-BE49-F238E27FC236}">
                <a16:creationId xmlns:a16="http://schemas.microsoft.com/office/drawing/2014/main" id="{3C83A11D-44A2-2543-B76B-5497E1101CBA}"/>
              </a:ext>
            </a:extLst>
          </p:cNvPr>
          <p:cNvCxnSpPr>
            <a:cxnSpLocks/>
            <a:stCxn id="44" idx="0"/>
            <a:endCxn id="56" idx="2"/>
          </p:cNvCxnSpPr>
          <p:nvPr/>
        </p:nvCxnSpPr>
        <p:spPr>
          <a:xfrm rot="16200000" flipV="1">
            <a:off x="9215264" y="4292872"/>
            <a:ext cx="683398" cy="529748"/>
          </a:xfrm>
          <a:prstGeom prst="bentConnector3">
            <a:avLst>
              <a:gd name="adj1" fmla="val 50000"/>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37FCB3BE-C4E7-54FE-A37F-5335B4BA9422}"/>
              </a:ext>
            </a:extLst>
          </p:cNvPr>
          <p:cNvPicPr>
            <a:picLocks noChangeAspect="1"/>
          </p:cNvPicPr>
          <p:nvPr/>
        </p:nvPicPr>
        <p:blipFill>
          <a:blip r:embed="rId2"/>
          <a:stretch>
            <a:fillRect/>
          </a:stretch>
        </p:blipFill>
        <p:spPr>
          <a:xfrm>
            <a:off x="10591541" y="415715"/>
            <a:ext cx="1236247" cy="289101"/>
          </a:xfrm>
          <a:prstGeom prst="rect">
            <a:avLst/>
          </a:prstGeom>
        </p:spPr>
      </p:pic>
    </p:spTree>
    <p:extLst>
      <p:ext uri="{BB962C8B-B14F-4D97-AF65-F5344CB8AC3E}">
        <p14:creationId xmlns:p14="http://schemas.microsoft.com/office/powerpoint/2010/main" val="21217167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7EBC7A8-D3F1-ED4C-88AD-083E74EB0C6D}"/>
              </a:ext>
            </a:extLst>
          </p:cNvPr>
          <p:cNvSpPr>
            <a:spLocks noGrp="1"/>
          </p:cNvSpPr>
          <p:nvPr>
            <p:ph type="title"/>
          </p:nvPr>
        </p:nvSpPr>
        <p:spPr>
          <a:xfrm>
            <a:off x="471600" y="457200"/>
            <a:ext cx="7502400" cy="507559"/>
          </a:xfrm>
        </p:spPr>
        <p:txBody>
          <a:bodyPr/>
          <a:lstStyle/>
          <a:p>
            <a:r>
              <a:rPr lang="en-GB" dirty="0">
                <a:solidFill>
                  <a:srgbClr val="00D7BD"/>
                </a:solidFill>
              </a:rPr>
              <a:t>Customer Success Story – European private bank</a:t>
            </a:r>
            <a:endParaRPr lang="en-US" dirty="0">
              <a:solidFill>
                <a:srgbClr val="00D7BD"/>
              </a:solidFill>
              <a:cs typeface="Arial"/>
            </a:endParaRPr>
          </a:p>
        </p:txBody>
      </p:sp>
      <p:sp>
        <p:nvSpPr>
          <p:cNvPr id="12" name="Rectangle 11">
            <a:extLst>
              <a:ext uri="{FF2B5EF4-FFF2-40B4-BE49-F238E27FC236}">
                <a16:creationId xmlns:a16="http://schemas.microsoft.com/office/drawing/2014/main" id="{94F07B40-7598-4F41-B195-70277A328811}"/>
              </a:ext>
            </a:extLst>
          </p:cNvPr>
          <p:cNvSpPr/>
          <p:nvPr/>
        </p:nvSpPr>
        <p:spPr>
          <a:xfrm>
            <a:off x="3370122" y="1065313"/>
            <a:ext cx="8524066" cy="5667996"/>
          </a:xfrm>
          <a:prstGeom prst="rect">
            <a:avLst/>
          </a:prstGeom>
        </p:spPr>
        <p:txBody>
          <a:bodyPr wrap="square" numCol="3" spcCol="28800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50" b="1" i="0" u="none" strike="noStrike" kern="0" cap="none" spc="0" normalizeH="0" baseline="0" dirty="0">
                <a:ln>
                  <a:noFill/>
                </a:ln>
                <a:solidFill>
                  <a:schemeClr val="accent6"/>
                </a:solidFill>
                <a:effectLst/>
                <a:uLnTx/>
                <a:uFillTx/>
              </a:rPr>
              <a:t>Business drivers – why Secure Network Gateway?</a:t>
            </a:r>
            <a:endParaRPr kumimoji="0" lang="en-GB" sz="1150" b="0" i="0" u="none" strike="noStrike" kern="0" cap="none" spc="0" normalizeH="0" baseline="0" dirty="0">
              <a:ln>
                <a:noFill/>
              </a:ln>
              <a:solidFill>
                <a:sysClr val="windowText" lastClr="000000"/>
              </a:solidFill>
              <a:effectLst/>
              <a:uLnTx/>
              <a:uFillTx/>
            </a:endParaRPr>
          </a:p>
          <a:p>
            <a:endParaRPr lang="en-GB" sz="1150" dirty="0"/>
          </a:p>
          <a:p>
            <a:r>
              <a:rPr lang="en-GB" sz="1150" dirty="0"/>
              <a:t>A private bank with multiple locations across Europe was transforming from on-premises infrastructure and applications to hybrid cloud services. In line with that transition, and to support its Zero Trust hybrid working ambitions, the bank wanted to replace its on-premises security stack with a managed cloud-based alternative. </a:t>
            </a:r>
          </a:p>
          <a:p>
            <a:endParaRPr lang="en-GB" sz="1150" dirty="0"/>
          </a:p>
          <a:p>
            <a:r>
              <a:rPr lang="en-GB" sz="1150" dirty="0"/>
              <a:t>Having discounted several cloud security solutions owing to missing features, the bank discussed his needs with Colt, the bank’s trusted provider of WAN connectivity (IP VPN and IP Access) across Europe. </a:t>
            </a:r>
          </a:p>
          <a:p>
            <a:endParaRPr lang="en-GB" sz="1150" dirty="0"/>
          </a:p>
          <a:p>
            <a:r>
              <a:rPr lang="en-GB" sz="1150" dirty="0"/>
              <a:t>Colt proposed Secure Network Gateway, its always-on, cloud-based security solution at the network edge, delivered in partnership with market leader Zscaler.</a:t>
            </a:r>
          </a:p>
          <a:p>
            <a:endParaRPr kumimoji="0" lang="en-GB" sz="1150" b="1" i="0" u="none" strike="noStrike" kern="0" cap="none" spc="0" normalizeH="0" baseline="0" dirty="0">
              <a:ln>
                <a:noFill/>
              </a:ln>
              <a:solidFill>
                <a:schemeClr val="accent6"/>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GB" sz="1150" b="1" i="0" u="none" strike="noStrike" kern="0" cap="none" spc="0" normalizeH="0" baseline="0" dirty="0">
                <a:ln>
                  <a:noFill/>
                </a:ln>
                <a:solidFill>
                  <a:schemeClr val="accent6"/>
                </a:solidFill>
                <a:effectLst/>
                <a:uLnTx/>
                <a:uFillTx/>
              </a:rPr>
              <a:t>What did the bank need </a:t>
            </a:r>
            <a:r>
              <a:rPr lang="en-GB" sz="1150" b="1" kern="0" dirty="0">
                <a:solidFill>
                  <a:schemeClr val="accent6"/>
                </a:solidFill>
              </a:rPr>
              <a:t>from its security solution?</a:t>
            </a:r>
          </a:p>
          <a:p>
            <a:pPr marL="0" marR="0" lvl="0" indent="0" defTabSz="914400" eaLnBrk="1" fontAlgn="auto" latinLnBrk="0" hangingPunct="1">
              <a:lnSpc>
                <a:spcPct val="100000"/>
              </a:lnSpc>
              <a:spcBef>
                <a:spcPts val="0"/>
              </a:spcBef>
              <a:spcAft>
                <a:spcPts val="0"/>
              </a:spcAft>
              <a:buClrTx/>
              <a:buSzTx/>
              <a:buFontTx/>
              <a:buNone/>
              <a:tabLst/>
              <a:defRPr/>
            </a:pPr>
            <a:endParaRPr lang="en-GB" sz="1150" kern="0" dirty="0"/>
          </a:p>
          <a:p>
            <a:pPr marL="0" marR="0" lvl="0" indent="0" defTabSz="914400" eaLnBrk="1" fontAlgn="auto" latinLnBrk="0" hangingPunct="1">
              <a:lnSpc>
                <a:spcPct val="100000"/>
              </a:lnSpc>
              <a:spcBef>
                <a:spcPts val="0"/>
              </a:spcBef>
              <a:spcAft>
                <a:spcPts val="0"/>
              </a:spcAft>
              <a:buClrTx/>
              <a:buSzTx/>
              <a:buFontTx/>
              <a:buNone/>
              <a:tabLst/>
              <a:defRPr/>
            </a:pPr>
            <a:r>
              <a:rPr lang="en-GB" sz="1150" kern="0" dirty="0"/>
              <a:t>The bank wanted to protect against cyberattacks and threats by enabling its employees to connect to the internet and cloud-based applications with the same high level of protection, whether in the office or working remotely. </a:t>
            </a:r>
          </a:p>
          <a:p>
            <a:pPr marL="0" marR="0" lvl="0" indent="0" defTabSz="914400" eaLnBrk="1" fontAlgn="auto" latinLnBrk="0" hangingPunct="1">
              <a:lnSpc>
                <a:spcPct val="100000"/>
              </a:lnSpc>
              <a:spcBef>
                <a:spcPts val="0"/>
              </a:spcBef>
              <a:spcAft>
                <a:spcPts val="0"/>
              </a:spcAft>
              <a:buClrTx/>
              <a:buSzTx/>
              <a:buFontTx/>
              <a:buNone/>
              <a:tabLst/>
              <a:defRPr/>
            </a:pPr>
            <a:endParaRPr lang="en-GB" sz="1150" kern="0" dirty="0"/>
          </a:p>
          <a:p>
            <a:pPr marL="0" marR="0" lvl="0" indent="0" defTabSz="914400" eaLnBrk="1" fontAlgn="auto" latinLnBrk="0" hangingPunct="1">
              <a:lnSpc>
                <a:spcPct val="100000"/>
              </a:lnSpc>
              <a:spcBef>
                <a:spcPts val="0"/>
              </a:spcBef>
              <a:spcAft>
                <a:spcPts val="0"/>
              </a:spcAft>
              <a:buClrTx/>
              <a:buSzTx/>
              <a:buFontTx/>
              <a:buNone/>
              <a:tabLst/>
              <a:defRPr/>
            </a:pPr>
            <a:r>
              <a:rPr lang="en-GB" sz="1150" kern="0" dirty="0"/>
              <a:t>The solution also had to support the bank’s compliance with its own stringent internal policies (set by the CISO), and with the requirements of the financial services authorities in its operating countries.</a:t>
            </a:r>
          </a:p>
          <a:p>
            <a:endParaRPr kumimoji="0" lang="en-GB" sz="1150" b="1" i="0" u="none" strike="noStrike" kern="0" cap="none" spc="0" normalizeH="0" baseline="0" dirty="0">
              <a:ln>
                <a:noFill/>
              </a:ln>
              <a:solidFill>
                <a:schemeClr val="accent6"/>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GB" sz="1150" b="1" i="0" u="none" strike="noStrike" kern="0" cap="none" spc="0" normalizeH="0" baseline="0" dirty="0">
                <a:ln>
                  <a:noFill/>
                </a:ln>
                <a:solidFill>
                  <a:schemeClr val="accent6"/>
                </a:solidFill>
                <a:effectLst/>
                <a:uLnTx/>
                <a:uFillTx/>
              </a:rPr>
              <a:t>The Colt and Zscaler difference </a:t>
            </a:r>
          </a:p>
          <a:p>
            <a:endParaRPr lang="en-GB" sz="1150" dirty="0"/>
          </a:p>
          <a:p>
            <a:r>
              <a:rPr lang="en-GB" sz="1150" dirty="0"/>
              <a:t>Zscaler operates the world’s largest cloud security platform. Colt peers directly with Zscaler in 21 locations worldwide to minimise latency and deliver consistent application performance and a great user experience. </a:t>
            </a:r>
          </a:p>
          <a:p>
            <a:endParaRPr lang="en-GB" sz="1150" dirty="0"/>
          </a:p>
          <a:p>
            <a:r>
              <a:rPr lang="en-GB" sz="1150" dirty="0"/>
              <a:t>As a trusted partner of both the bank and Zscaler, Colt ensured that all parties had clear, common insight into the bank’s vision and objectives.</a:t>
            </a:r>
          </a:p>
          <a:p>
            <a:endParaRPr lang="en-GB" sz="1150" dirty="0"/>
          </a:p>
          <a:p>
            <a:r>
              <a:rPr lang="en-GB" sz="1150" dirty="0"/>
              <a:t>The Colt team provided consultancy, ensured that the Zscaler solution developed was explicitly fulfilling the goals, and facilitated commercial negotiations during the pre-sales and sales processes. </a:t>
            </a:r>
          </a:p>
          <a:p>
            <a:endParaRPr lang="en-GB" sz="1150" dirty="0"/>
          </a:p>
          <a:p>
            <a:r>
              <a:rPr lang="en-GB" sz="1150" dirty="0"/>
              <a:t>The bank benefits from a fully managed cloud security solution, delivered through an </a:t>
            </a:r>
            <a:r>
              <a:rPr lang="en-GB" sz="1150" dirty="0" err="1"/>
              <a:t>opex</a:t>
            </a:r>
            <a:r>
              <a:rPr lang="en-GB" sz="1150" dirty="0"/>
              <a:t> model, that:</a:t>
            </a:r>
          </a:p>
          <a:p>
            <a:pPr marL="171450" indent="-171450">
              <a:buFont typeface="Arial" panose="020B0604020202020204" pitchFamily="34" charset="0"/>
              <a:buChar char="•"/>
            </a:pPr>
            <a:r>
              <a:rPr lang="en-GB" sz="1150" dirty="0"/>
              <a:t>Improves its security posture and supports its compliance,</a:t>
            </a:r>
          </a:p>
          <a:p>
            <a:pPr marL="171450" indent="-171450">
              <a:buFont typeface="Arial" panose="020B0604020202020204" pitchFamily="34" charset="0"/>
              <a:buChar char="•"/>
            </a:pPr>
            <a:r>
              <a:rPr lang="en-GB" sz="1150" dirty="0"/>
              <a:t>Offers more than its previous </a:t>
            </a:r>
            <a:br>
              <a:rPr lang="en-GB" sz="1150" dirty="0"/>
            </a:br>
            <a:r>
              <a:rPr lang="en-GB" sz="1150" dirty="0"/>
              <a:t>on-premises solution,</a:t>
            </a:r>
          </a:p>
          <a:p>
            <a:pPr marL="171450" indent="-171450">
              <a:buFont typeface="Arial" panose="020B0604020202020204" pitchFamily="34" charset="0"/>
              <a:buChar char="•"/>
            </a:pPr>
            <a:r>
              <a:rPr lang="en-GB" sz="1150" dirty="0"/>
              <a:t>Allows the bank to pursue its Zero Trust networking strategy,</a:t>
            </a:r>
          </a:p>
          <a:p>
            <a:pPr marL="171450" indent="-171450">
              <a:buFont typeface="Arial" panose="020B0604020202020204" pitchFamily="34" charset="0"/>
              <a:buChar char="•"/>
            </a:pPr>
            <a:r>
              <a:rPr lang="en-GB" sz="1150" dirty="0"/>
              <a:t>Is modular and can evolve and expand to support the bank’s future needs with native </a:t>
            </a:r>
            <a:r>
              <a:rPr lang="en-GB" sz="1150" dirty="0" err="1"/>
              <a:t>Zscaler</a:t>
            </a:r>
            <a:r>
              <a:rPr lang="en-GB" sz="1150" dirty="0"/>
              <a:t> capabilities.</a:t>
            </a:r>
          </a:p>
          <a:p>
            <a:endParaRPr lang="en-GB" sz="1150" dirty="0"/>
          </a:p>
          <a:p>
            <a:r>
              <a:rPr lang="en-GB" sz="1150" dirty="0"/>
              <a:t>On top of that, the bank enjoys the simplicity and convenience of having Colt as its one-stop shop for both WAN connectivity and cloud-based security.</a:t>
            </a:r>
          </a:p>
          <a:p>
            <a:r>
              <a:rPr lang="en-GB" sz="1150" dirty="0"/>
              <a:t> </a:t>
            </a:r>
            <a:endParaRPr kumimoji="0" lang="en-GB" sz="1150" i="0" u="none" strike="noStrike" kern="0" cap="none" spc="0" normalizeH="0" baseline="0" dirty="0">
              <a:ln>
                <a:noFill/>
              </a:ln>
              <a:effectLst/>
              <a:uLnTx/>
              <a:uFillTx/>
            </a:endParaRPr>
          </a:p>
        </p:txBody>
      </p:sp>
      <p:cxnSp>
        <p:nvCxnSpPr>
          <p:cNvPr id="6" name="Straight Connector 5">
            <a:extLst>
              <a:ext uri="{FF2B5EF4-FFF2-40B4-BE49-F238E27FC236}">
                <a16:creationId xmlns:a16="http://schemas.microsoft.com/office/drawing/2014/main" id="{48945695-0E65-6D4C-A560-407EB06BF083}"/>
              </a:ext>
            </a:extLst>
          </p:cNvPr>
          <p:cNvCxnSpPr>
            <a:cxnSpLocks/>
          </p:cNvCxnSpPr>
          <p:nvPr/>
        </p:nvCxnSpPr>
        <p:spPr>
          <a:xfrm>
            <a:off x="2869809" y="1285390"/>
            <a:ext cx="0" cy="4707447"/>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Slide Number Placeholder 1">
            <a:extLst>
              <a:ext uri="{FF2B5EF4-FFF2-40B4-BE49-F238E27FC236}">
                <a16:creationId xmlns:a16="http://schemas.microsoft.com/office/drawing/2014/main" id="{C8983729-CBF4-BC4B-8A53-4B442F97BDC9}"/>
              </a:ext>
            </a:extLst>
          </p:cNvPr>
          <p:cNvSpPr>
            <a:spLocks noGrp="1"/>
          </p:cNvSpPr>
          <p:nvPr>
            <p:ph type="sldNum" sz="quarter" idx="12"/>
          </p:nvPr>
        </p:nvSpPr>
        <p:spPr>
          <a:xfrm>
            <a:off x="11278800" y="6400800"/>
            <a:ext cx="442800" cy="2268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D0FE45-509C-4BDF-9EDE-64426F8DF3D2}" type="slidenum">
              <a:rPr kumimoji="0" lang="nl-NL" sz="900" b="0" i="0" u="none" strike="noStrike" kern="0" cap="none" spc="0" normalizeH="0" baseline="0" noProof="0" smtClean="0">
                <a:ln>
                  <a:noFill/>
                </a:ln>
                <a:solidFill>
                  <a:schemeClr val="bg2"/>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nl-NL" sz="900" b="0" i="0" u="none" strike="noStrike" kern="0" cap="none" spc="0" normalizeH="0" baseline="0" noProof="0" dirty="0">
              <a:ln>
                <a:noFill/>
              </a:ln>
              <a:solidFill>
                <a:schemeClr val="bg2"/>
              </a:solidFill>
              <a:effectLst/>
              <a:uLnTx/>
              <a:uFillTx/>
              <a:latin typeface="Arial"/>
              <a:ea typeface="+mn-ea"/>
              <a:cs typeface="+mn-cs"/>
            </a:endParaRPr>
          </a:p>
        </p:txBody>
      </p:sp>
      <p:pic>
        <p:nvPicPr>
          <p:cNvPr id="5" name="Picture 4">
            <a:extLst>
              <a:ext uri="{FF2B5EF4-FFF2-40B4-BE49-F238E27FC236}">
                <a16:creationId xmlns:a16="http://schemas.microsoft.com/office/drawing/2014/main" id="{D49BE98B-712E-1BA5-BF77-E6996D6E4174}"/>
              </a:ext>
            </a:extLst>
          </p:cNvPr>
          <p:cNvPicPr>
            <a:picLocks noChangeAspect="1"/>
          </p:cNvPicPr>
          <p:nvPr/>
        </p:nvPicPr>
        <p:blipFill>
          <a:blip r:embed="rId2"/>
          <a:stretch>
            <a:fillRect/>
          </a:stretch>
        </p:blipFill>
        <p:spPr>
          <a:xfrm>
            <a:off x="10591541" y="415715"/>
            <a:ext cx="1236247" cy="289101"/>
          </a:xfrm>
          <a:prstGeom prst="rect">
            <a:avLst/>
          </a:prstGeom>
        </p:spPr>
      </p:pic>
      <p:sp>
        <p:nvSpPr>
          <p:cNvPr id="7" name="Rectangle 6">
            <a:extLst>
              <a:ext uri="{FF2B5EF4-FFF2-40B4-BE49-F238E27FC236}">
                <a16:creationId xmlns:a16="http://schemas.microsoft.com/office/drawing/2014/main" id="{02792EAF-7D3D-9953-34A1-E11CA978DD79}"/>
              </a:ext>
            </a:extLst>
          </p:cNvPr>
          <p:cNvSpPr/>
          <p:nvPr/>
        </p:nvSpPr>
        <p:spPr>
          <a:xfrm>
            <a:off x="348977" y="2023286"/>
            <a:ext cx="2111287" cy="32316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1"/>
                </a:solidFill>
                <a:effectLst/>
                <a:uLnTx/>
                <a:uFillTx/>
                <a:latin typeface="Arial"/>
                <a:ea typeface="+mn-ea"/>
                <a:cs typeface="+mn-cs"/>
              </a:rPr>
              <a:t>Cli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latin typeface="Arial"/>
              </a:rPr>
              <a:t>Private bank</a:t>
            </a:r>
            <a:br>
              <a:rPr kumimoji="0" lang="en-GB" sz="1200" b="1" i="0" u="none" strike="noStrike" kern="1200" cap="none" spc="0" normalizeH="0" baseline="0" noProof="0" dirty="0">
                <a:ln>
                  <a:noFill/>
                </a:ln>
                <a:solidFill>
                  <a:srgbClr val="000000"/>
                </a:solidFill>
                <a:effectLst/>
                <a:uLnTx/>
                <a:uFillTx/>
                <a:latin typeface="Arial"/>
                <a:ea typeface="+mn-ea"/>
                <a:cs typeface="+mn-cs"/>
              </a:rPr>
            </a:b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lvl="0" algn="ctr">
              <a:defRPr/>
            </a:pPr>
            <a:r>
              <a:rPr lang="en-GB" sz="1200" b="1" dirty="0">
                <a:solidFill>
                  <a:schemeClr val="accent1"/>
                </a:solidFill>
              </a:rPr>
              <a:t>Partner</a:t>
            </a:r>
          </a:p>
          <a:p>
            <a:pPr lvl="0" algn="ctr">
              <a:defRPr/>
            </a:pPr>
            <a:r>
              <a:rPr lang="en-GB" sz="1200" dirty="0">
                <a:solidFill>
                  <a:srgbClr val="000000"/>
                </a:solidFill>
              </a:rPr>
              <a:t>Zscaler</a:t>
            </a:r>
          </a:p>
          <a:p>
            <a:pPr lvl="0" algn="ctr">
              <a:defRPr/>
            </a:pPr>
            <a:endParaRPr lang="en-GB" sz="1200" dirty="0">
              <a:solidFill>
                <a:srgbClr val="000000"/>
              </a:solidFill>
            </a:endParaRPr>
          </a:p>
          <a:p>
            <a:pPr lvl="0" algn="ctr">
              <a:defRPr/>
            </a:pPr>
            <a:r>
              <a:rPr kumimoji="0" lang="en-GB" sz="1200" b="1" i="0" u="none" strike="noStrike" kern="1200" cap="none" spc="0" normalizeH="0" baseline="0" noProof="0" dirty="0">
                <a:ln>
                  <a:noFill/>
                </a:ln>
                <a:solidFill>
                  <a:srgbClr val="00D7BD"/>
                </a:solidFill>
                <a:effectLst/>
                <a:uLnTx/>
                <a:uFillTx/>
                <a:latin typeface="Arial"/>
                <a:ea typeface="+mn-ea"/>
                <a:cs typeface="+mn-cs"/>
              </a:rPr>
              <a:t>Sector</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latin typeface="Arial"/>
              </a:rPr>
              <a:t>Financial services</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GB" sz="1200" b="0" i="0" u="none" strike="noStrike" kern="1200" cap="none" spc="0" normalizeH="0" baseline="0" noProof="0" dirty="0">
                <a:ln>
                  <a:noFill/>
                </a:ln>
                <a:solidFill>
                  <a:srgbClr val="000000"/>
                </a:solidFill>
                <a:effectLst/>
                <a:uLnTx/>
                <a:uFillTx/>
                <a:latin typeface="Arial"/>
                <a:ea typeface="+mn-ea"/>
                <a:cs typeface="+mn-cs"/>
              </a:rPr>
            </a:br>
            <a:r>
              <a:rPr kumimoji="0" lang="en-GB" sz="1200" b="1" i="0" u="none" strike="noStrike" kern="1200" cap="none" spc="0" normalizeH="0" baseline="0" noProof="0" dirty="0">
                <a:ln>
                  <a:noFill/>
                </a:ln>
                <a:solidFill>
                  <a:schemeClr val="accent1"/>
                </a:solidFill>
                <a:effectLst/>
                <a:uLnTx/>
                <a:uFillTx/>
                <a:latin typeface="Arial"/>
                <a:ea typeface="+mn-ea"/>
                <a:cs typeface="+mn-cs"/>
              </a:rPr>
              <a:t>Products and services</a:t>
            </a:r>
            <a:r>
              <a:rPr kumimoji="0" lang="en-GB" sz="1200" b="0" i="0" u="none" strike="noStrike" kern="1200" cap="none" spc="0" normalizeH="0" baseline="0" noProof="0" dirty="0">
                <a:ln>
                  <a:noFill/>
                </a:ln>
                <a:solidFill>
                  <a:schemeClr val="accent1"/>
                </a:solidFill>
                <a:effectLst/>
                <a:uLnTx/>
                <a:uFillTx/>
                <a:latin typeface="Arial"/>
                <a:ea typeface="+mn-ea"/>
                <a:cs typeface="+mn-cs"/>
              </a:rPr>
              <a:t> </a:t>
            </a:r>
            <a:br>
              <a:rPr kumimoji="0" lang="en-GB" sz="1200" b="0" i="0" u="none" strike="noStrike" kern="1200" cap="none" spc="0" normalizeH="0" baseline="0" noProof="0" dirty="0">
                <a:ln>
                  <a:noFill/>
                </a:ln>
                <a:solidFill>
                  <a:srgbClr val="000000"/>
                </a:solidFill>
                <a:effectLst/>
                <a:uLnTx/>
                <a:uFillTx/>
                <a:latin typeface="Arial"/>
                <a:ea typeface="+mn-ea"/>
                <a:cs typeface="+mn-cs"/>
              </a:rPr>
            </a:br>
            <a:r>
              <a:rPr kumimoji="0" lang="en-GB" sz="1200" b="0" i="0" u="none" strike="noStrike" kern="1200" cap="none" spc="0" normalizeH="0" baseline="0" noProof="0" dirty="0">
                <a:ln>
                  <a:noFill/>
                </a:ln>
                <a:solidFill>
                  <a:srgbClr val="000000"/>
                </a:solidFill>
                <a:effectLst/>
                <a:uLnTx/>
                <a:uFillTx/>
                <a:latin typeface="Arial"/>
                <a:ea typeface="+mn-ea"/>
                <a:cs typeface="+mn-cs"/>
              </a:rPr>
              <a:t>Secure Network Gateway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1"/>
                </a:solidFill>
                <a:effectLst/>
                <a:uLnTx/>
                <a:uFillTx/>
                <a:latin typeface="Arial"/>
                <a:ea typeface="+mn-ea"/>
                <a:cs typeface="+mn-cs"/>
              </a:rPr>
              <a:t>Locations</a:t>
            </a:r>
          </a:p>
          <a:p>
            <a:pPr lvl="0" algn="ctr">
              <a:defRPr/>
            </a:pPr>
            <a:r>
              <a:rPr lang="en-GB" sz="1200" dirty="0">
                <a:solidFill>
                  <a:srgbClr val="000000"/>
                </a:solidFill>
              </a:rPr>
              <a:t>Multiple across Europ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chemeClr val="accent1"/>
                </a:solidFill>
                <a:latin typeface="Arial"/>
              </a:rPr>
              <a:t>Number of employe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000000"/>
                </a:solidFill>
                <a:effectLst/>
                <a:uLnTx/>
                <a:uFillTx/>
                <a:latin typeface="Arial"/>
                <a:ea typeface="+mn-ea"/>
                <a:cs typeface="+mn-cs"/>
              </a:rPr>
              <a:t>~2,000</a:t>
            </a:r>
          </a:p>
        </p:txBody>
      </p:sp>
    </p:spTree>
    <p:extLst>
      <p:ext uri="{BB962C8B-B14F-4D97-AF65-F5344CB8AC3E}">
        <p14:creationId xmlns:p14="http://schemas.microsoft.com/office/powerpoint/2010/main" val="22247340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7EBC7A8-D3F1-ED4C-88AD-083E74EB0C6D}"/>
              </a:ext>
            </a:extLst>
          </p:cNvPr>
          <p:cNvSpPr>
            <a:spLocks noGrp="1"/>
          </p:cNvSpPr>
          <p:nvPr>
            <p:ph type="title"/>
          </p:nvPr>
        </p:nvSpPr>
        <p:spPr>
          <a:xfrm>
            <a:off x="471600" y="457200"/>
            <a:ext cx="7502400" cy="507559"/>
          </a:xfrm>
        </p:spPr>
        <p:txBody>
          <a:bodyPr/>
          <a:lstStyle/>
          <a:p>
            <a:r>
              <a:rPr lang="en-GB" dirty="0">
                <a:solidFill>
                  <a:srgbClr val="00D7BD"/>
                </a:solidFill>
              </a:rPr>
              <a:t>Customer Success Story – European private bank</a:t>
            </a:r>
            <a:endParaRPr lang="en-US" dirty="0">
              <a:solidFill>
                <a:srgbClr val="00D7BD"/>
              </a:solidFill>
              <a:cs typeface="Arial"/>
            </a:endParaRPr>
          </a:p>
        </p:txBody>
      </p:sp>
      <p:sp>
        <p:nvSpPr>
          <p:cNvPr id="12" name="Rectangle 11">
            <a:extLst>
              <a:ext uri="{FF2B5EF4-FFF2-40B4-BE49-F238E27FC236}">
                <a16:creationId xmlns:a16="http://schemas.microsoft.com/office/drawing/2014/main" id="{94F07B40-7598-4F41-B195-70277A328811}"/>
              </a:ext>
            </a:extLst>
          </p:cNvPr>
          <p:cNvSpPr/>
          <p:nvPr/>
        </p:nvSpPr>
        <p:spPr>
          <a:xfrm>
            <a:off x="3318957" y="931857"/>
            <a:ext cx="8524066" cy="5414511"/>
          </a:xfrm>
          <a:prstGeom prst="rect">
            <a:avLst/>
          </a:prstGeom>
        </p:spPr>
        <p:txBody>
          <a:bodyPr wrap="square" numCol="3" spcCol="288000" anchor="t">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GB" sz="1150" i="0" u="none" strike="noStrike" kern="0" cap="none" spc="0" normalizeH="0" baseline="0" dirty="0">
                <a:ln>
                  <a:noFill/>
                </a:ln>
                <a:effectLst/>
                <a:highlight>
                  <a:srgbClr val="FFFF00"/>
                </a:highlight>
                <a:uLnTx/>
                <a:uFillTx/>
              </a:rPr>
              <a:t> </a:t>
            </a:r>
          </a:p>
          <a:p>
            <a:endParaRPr lang="en-GB" sz="1150" dirty="0"/>
          </a:p>
          <a:p>
            <a:r>
              <a:rPr lang="en-GB" sz="1150" dirty="0"/>
              <a:t> </a:t>
            </a:r>
            <a:endParaRPr kumimoji="0" lang="en-GB" sz="1150" i="0" u="none" strike="noStrike" kern="0" cap="none" spc="0" normalizeH="0" baseline="0" dirty="0">
              <a:ln>
                <a:noFill/>
              </a:ln>
              <a:effectLst/>
              <a:uLnTx/>
              <a:uFillTx/>
            </a:endParaRPr>
          </a:p>
        </p:txBody>
      </p:sp>
      <p:cxnSp>
        <p:nvCxnSpPr>
          <p:cNvPr id="6" name="Straight Connector 5">
            <a:extLst>
              <a:ext uri="{FF2B5EF4-FFF2-40B4-BE49-F238E27FC236}">
                <a16:creationId xmlns:a16="http://schemas.microsoft.com/office/drawing/2014/main" id="{48945695-0E65-6D4C-A560-407EB06BF083}"/>
              </a:ext>
            </a:extLst>
          </p:cNvPr>
          <p:cNvCxnSpPr>
            <a:cxnSpLocks/>
          </p:cNvCxnSpPr>
          <p:nvPr/>
        </p:nvCxnSpPr>
        <p:spPr>
          <a:xfrm>
            <a:off x="2869809" y="1285390"/>
            <a:ext cx="0" cy="4707447"/>
          </a:xfrm>
          <a:prstGeom prst="line">
            <a:avLst/>
          </a:prstGeom>
          <a:ln w="9525">
            <a:solidFill>
              <a:schemeClr val="accent1"/>
            </a:solidFill>
          </a:ln>
        </p:spPr>
        <p:style>
          <a:lnRef idx="1">
            <a:schemeClr val="accent1"/>
          </a:lnRef>
          <a:fillRef idx="0">
            <a:schemeClr val="accent1"/>
          </a:fillRef>
          <a:effectRef idx="0">
            <a:schemeClr val="accent1"/>
          </a:effectRef>
          <a:fontRef idx="minor">
            <a:schemeClr val="tx1"/>
          </a:fontRef>
        </p:style>
      </p:cxnSp>
      <p:sp>
        <p:nvSpPr>
          <p:cNvPr id="13" name="Slide Number Placeholder 1">
            <a:extLst>
              <a:ext uri="{FF2B5EF4-FFF2-40B4-BE49-F238E27FC236}">
                <a16:creationId xmlns:a16="http://schemas.microsoft.com/office/drawing/2014/main" id="{C8983729-CBF4-BC4B-8A53-4B442F97BDC9}"/>
              </a:ext>
            </a:extLst>
          </p:cNvPr>
          <p:cNvSpPr>
            <a:spLocks noGrp="1"/>
          </p:cNvSpPr>
          <p:nvPr>
            <p:ph type="sldNum" sz="quarter" idx="12"/>
          </p:nvPr>
        </p:nvSpPr>
        <p:spPr>
          <a:xfrm>
            <a:off x="11278800" y="6400800"/>
            <a:ext cx="442800" cy="226800"/>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D0FE45-509C-4BDF-9EDE-64426F8DF3D2}" type="slidenum">
              <a:rPr kumimoji="0" lang="nl-NL" sz="900" b="0" i="0" u="none" strike="noStrike" kern="0" cap="none" spc="0" normalizeH="0" baseline="0" noProof="0" smtClean="0">
                <a:ln>
                  <a:noFill/>
                </a:ln>
                <a:solidFill>
                  <a:schemeClr val="bg2"/>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nl-NL" sz="900" b="0" i="0" u="none" strike="noStrike" kern="0" cap="none" spc="0" normalizeH="0" baseline="0" noProof="0" dirty="0">
              <a:ln>
                <a:noFill/>
              </a:ln>
              <a:solidFill>
                <a:schemeClr val="bg2"/>
              </a:solidFill>
              <a:effectLst/>
              <a:uLnTx/>
              <a:uFillTx/>
              <a:latin typeface="Arial"/>
              <a:ea typeface="+mn-ea"/>
              <a:cs typeface="+mn-cs"/>
            </a:endParaRPr>
          </a:p>
        </p:txBody>
      </p:sp>
      <p:pic>
        <p:nvPicPr>
          <p:cNvPr id="5" name="Picture 4">
            <a:extLst>
              <a:ext uri="{FF2B5EF4-FFF2-40B4-BE49-F238E27FC236}">
                <a16:creationId xmlns:a16="http://schemas.microsoft.com/office/drawing/2014/main" id="{D49BE98B-712E-1BA5-BF77-E6996D6E4174}"/>
              </a:ext>
            </a:extLst>
          </p:cNvPr>
          <p:cNvPicPr>
            <a:picLocks noChangeAspect="1"/>
          </p:cNvPicPr>
          <p:nvPr/>
        </p:nvPicPr>
        <p:blipFill>
          <a:blip r:embed="rId2"/>
          <a:stretch>
            <a:fillRect/>
          </a:stretch>
        </p:blipFill>
        <p:spPr>
          <a:xfrm>
            <a:off x="10591541" y="415715"/>
            <a:ext cx="1236247" cy="289101"/>
          </a:xfrm>
          <a:prstGeom prst="rect">
            <a:avLst/>
          </a:prstGeom>
        </p:spPr>
      </p:pic>
      <p:sp>
        <p:nvSpPr>
          <p:cNvPr id="7" name="Rectangle 6">
            <a:extLst>
              <a:ext uri="{FF2B5EF4-FFF2-40B4-BE49-F238E27FC236}">
                <a16:creationId xmlns:a16="http://schemas.microsoft.com/office/drawing/2014/main" id="{02792EAF-7D3D-9953-34A1-E11CA978DD79}"/>
              </a:ext>
            </a:extLst>
          </p:cNvPr>
          <p:cNvSpPr/>
          <p:nvPr/>
        </p:nvSpPr>
        <p:spPr>
          <a:xfrm>
            <a:off x="348977" y="2023286"/>
            <a:ext cx="2111287" cy="32316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1"/>
                </a:solidFill>
                <a:effectLst/>
                <a:uLnTx/>
                <a:uFillTx/>
                <a:latin typeface="Arial"/>
                <a:ea typeface="+mn-ea"/>
                <a:cs typeface="+mn-cs"/>
              </a:rPr>
              <a:t>Cli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latin typeface="Arial"/>
              </a:rPr>
              <a:t>Private bank</a:t>
            </a:r>
            <a:br>
              <a:rPr kumimoji="0" lang="en-GB" sz="1200" b="1" i="0" u="none" strike="noStrike" kern="1200" cap="none" spc="0" normalizeH="0" baseline="0" noProof="0" dirty="0">
                <a:ln>
                  <a:noFill/>
                </a:ln>
                <a:solidFill>
                  <a:srgbClr val="000000"/>
                </a:solidFill>
                <a:effectLst/>
                <a:uLnTx/>
                <a:uFillTx/>
                <a:latin typeface="Arial"/>
                <a:ea typeface="+mn-ea"/>
                <a:cs typeface="+mn-cs"/>
              </a:rPr>
            </a:b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lvl="0" algn="ctr">
              <a:defRPr/>
            </a:pPr>
            <a:r>
              <a:rPr lang="en-GB" sz="1200" b="1" dirty="0">
                <a:solidFill>
                  <a:schemeClr val="accent1"/>
                </a:solidFill>
              </a:rPr>
              <a:t>Partner</a:t>
            </a:r>
          </a:p>
          <a:p>
            <a:pPr lvl="0" algn="ctr">
              <a:defRPr/>
            </a:pPr>
            <a:r>
              <a:rPr lang="en-GB" sz="1200" dirty="0">
                <a:solidFill>
                  <a:srgbClr val="000000"/>
                </a:solidFill>
              </a:rPr>
              <a:t>Zscaler</a:t>
            </a:r>
          </a:p>
          <a:p>
            <a:pPr lvl="0" algn="ctr">
              <a:defRPr/>
            </a:pPr>
            <a:endParaRPr lang="en-GB" sz="1200" dirty="0">
              <a:solidFill>
                <a:srgbClr val="000000"/>
              </a:solidFill>
            </a:endParaRPr>
          </a:p>
          <a:p>
            <a:pPr lvl="0" algn="ctr">
              <a:defRPr/>
            </a:pPr>
            <a:r>
              <a:rPr kumimoji="0" lang="en-GB" sz="1200" b="1" i="0" u="none" strike="noStrike" kern="1200" cap="none" spc="0" normalizeH="0" baseline="0" noProof="0" dirty="0">
                <a:ln>
                  <a:noFill/>
                </a:ln>
                <a:solidFill>
                  <a:srgbClr val="00D7BD"/>
                </a:solidFill>
                <a:effectLst/>
                <a:uLnTx/>
                <a:uFillTx/>
                <a:latin typeface="Arial"/>
                <a:ea typeface="+mn-ea"/>
                <a:cs typeface="+mn-cs"/>
              </a:rPr>
              <a:t>Sector</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dirty="0">
                <a:solidFill>
                  <a:srgbClr val="000000"/>
                </a:solidFill>
                <a:latin typeface="Arial"/>
              </a:rPr>
              <a:t>Financial services</a:t>
            </a: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br>
              <a:rPr kumimoji="0" lang="en-GB" sz="1200" b="0" i="0" u="none" strike="noStrike" kern="1200" cap="none" spc="0" normalizeH="0" baseline="0" noProof="0" dirty="0">
                <a:ln>
                  <a:noFill/>
                </a:ln>
                <a:solidFill>
                  <a:srgbClr val="000000"/>
                </a:solidFill>
                <a:effectLst/>
                <a:uLnTx/>
                <a:uFillTx/>
                <a:latin typeface="Arial"/>
                <a:ea typeface="+mn-ea"/>
                <a:cs typeface="+mn-cs"/>
              </a:rPr>
            </a:br>
            <a:r>
              <a:rPr kumimoji="0" lang="en-GB" sz="1200" b="1" i="0" u="none" strike="noStrike" kern="1200" cap="none" spc="0" normalizeH="0" baseline="0" noProof="0" dirty="0">
                <a:ln>
                  <a:noFill/>
                </a:ln>
                <a:solidFill>
                  <a:schemeClr val="accent1"/>
                </a:solidFill>
                <a:effectLst/>
                <a:uLnTx/>
                <a:uFillTx/>
                <a:latin typeface="Arial"/>
                <a:ea typeface="+mn-ea"/>
                <a:cs typeface="+mn-cs"/>
              </a:rPr>
              <a:t>Products and services</a:t>
            </a:r>
            <a:r>
              <a:rPr kumimoji="0" lang="en-GB" sz="1200" b="0" i="0" u="none" strike="noStrike" kern="1200" cap="none" spc="0" normalizeH="0" baseline="0" noProof="0" dirty="0">
                <a:ln>
                  <a:noFill/>
                </a:ln>
                <a:solidFill>
                  <a:schemeClr val="accent1"/>
                </a:solidFill>
                <a:effectLst/>
                <a:uLnTx/>
                <a:uFillTx/>
                <a:latin typeface="Arial"/>
                <a:ea typeface="+mn-ea"/>
                <a:cs typeface="+mn-cs"/>
              </a:rPr>
              <a:t> </a:t>
            </a:r>
            <a:br>
              <a:rPr kumimoji="0" lang="en-GB" sz="1200" b="0" i="0" u="none" strike="noStrike" kern="1200" cap="none" spc="0" normalizeH="0" baseline="0" noProof="0" dirty="0">
                <a:ln>
                  <a:noFill/>
                </a:ln>
                <a:solidFill>
                  <a:srgbClr val="000000"/>
                </a:solidFill>
                <a:effectLst/>
                <a:uLnTx/>
                <a:uFillTx/>
                <a:latin typeface="Arial"/>
                <a:ea typeface="+mn-ea"/>
                <a:cs typeface="+mn-cs"/>
              </a:rPr>
            </a:br>
            <a:r>
              <a:rPr kumimoji="0" lang="en-GB" sz="1200" b="0" i="0" u="none" strike="noStrike" kern="1200" cap="none" spc="0" normalizeH="0" baseline="0" noProof="0" dirty="0">
                <a:ln>
                  <a:noFill/>
                </a:ln>
                <a:solidFill>
                  <a:srgbClr val="000000"/>
                </a:solidFill>
                <a:effectLst/>
                <a:uLnTx/>
                <a:uFillTx/>
                <a:latin typeface="Arial"/>
                <a:ea typeface="+mn-ea"/>
                <a:cs typeface="+mn-cs"/>
              </a:rPr>
              <a:t>Secure Network Gateway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chemeClr val="accent1"/>
                </a:solidFill>
                <a:effectLst/>
                <a:uLnTx/>
                <a:uFillTx/>
                <a:latin typeface="Arial"/>
                <a:ea typeface="+mn-ea"/>
                <a:cs typeface="+mn-cs"/>
              </a:rPr>
              <a:t>Locations</a:t>
            </a:r>
          </a:p>
          <a:p>
            <a:pPr lvl="0" algn="ctr">
              <a:defRPr/>
            </a:pPr>
            <a:r>
              <a:rPr lang="en-GB" sz="1200" dirty="0">
                <a:solidFill>
                  <a:srgbClr val="000000"/>
                </a:solidFill>
              </a:rPr>
              <a:t>Multiple across Europe</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dirty="0">
              <a:ln>
                <a:noFill/>
              </a:ln>
              <a:solidFill>
                <a:srgbClr val="000000"/>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b="1" dirty="0">
                <a:solidFill>
                  <a:schemeClr val="accent1"/>
                </a:solidFill>
                <a:latin typeface="Arial"/>
              </a:rPr>
              <a:t>Number of employe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dirty="0">
                <a:ln>
                  <a:noFill/>
                </a:ln>
                <a:solidFill>
                  <a:srgbClr val="000000"/>
                </a:solidFill>
                <a:effectLst/>
                <a:uLnTx/>
                <a:uFillTx/>
                <a:latin typeface="Arial"/>
                <a:ea typeface="+mn-ea"/>
                <a:cs typeface="+mn-cs"/>
              </a:rPr>
              <a:t>~2,000</a:t>
            </a:r>
          </a:p>
        </p:txBody>
      </p:sp>
      <p:pic>
        <p:nvPicPr>
          <p:cNvPr id="4" name="Picture 3">
            <a:extLst>
              <a:ext uri="{FF2B5EF4-FFF2-40B4-BE49-F238E27FC236}">
                <a16:creationId xmlns:a16="http://schemas.microsoft.com/office/drawing/2014/main" id="{4530515D-6E8D-088F-A35B-191896A102DA}"/>
              </a:ext>
            </a:extLst>
          </p:cNvPr>
          <p:cNvPicPr>
            <a:picLocks noChangeAspect="1"/>
          </p:cNvPicPr>
          <p:nvPr/>
        </p:nvPicPr>
        <p:blipFill>
          <a:blip r:embed="rId3"/>
          <a:stretch>
            <a:fillRect/>
          </a:stretch>
        </p:blipFill>
        <p:spPr>
          <a:xfrm>
            <a:off x="3279355" y="1529430"/>
            <a:ext cx="7877175" cy="4486275"/>
          </a:xfrm>
          <a:prstGeom prst="rect">
            <a:avLst/>
          </a:prstGeom>
        </p:spPr>
      </p:pic>
    </p:spTree>
    <p:extLst>
      <p:ext uri="{BB962C8B-B14F-4D97-AF65-F5344CB8AC3E}">
        <p14:creationId xmlns:p14="http://schemas.microsoft.com/office/powerpoint/2010/main" val="4209017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MerchantCantos - Colt">
      <a:dk1>
        <a:sysClr val="windowText" lastClr="000000"/>
      </a:dk1>
      <a:lt1>
        <a:sysClr val="window" lastClr="FFFFFF"/>
      </a:lt1>
      <a:dk2>
        <a:srgbClr val="484A47"/>
      </a:dk2>
      <a:lt2>
        <a:srgbClr val="F5F5F5"/>
      </a:lt2>
      <a:accent1>
        <a:srgbClr val="00D7BD"/>
      </a:accent1>
      <a:accent2>
        <a:srgbClr val="00A59B"/>
      </a:accent2>
      <a:accent3>
        <a:srgbClr val="0099FF"/>
      </a:accent3>
      <a:accent4>
        <a:srgbClr val="500091"/>
      </a:accent4>
      <a:accent5>
        <a:srgbClr val="FFC43D"/>
      </a:accent5>
      <a:accent6>
        <a:srgbClr val="EF476F"/>
      </a:accent6>
      <a:hlink>
        <a:srgbClr val="0099FF"/>
      </a:hlink>
      <a:folHlink>
        <a:srgbClr val="50009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gn="l">
          <a:lnSpc>
            <a:spcPts val="2290"/>
          </a:lnSpc>
          <a:defRPr sz="1940" dirty="0" err="1" smtClean="0">
            <a:solidFill>
              <a:schemeClr val="tx2"/>
            </a:solidFill>
          </a:defRPr>
        </a:defPPr>
      </a:lstStyle>
    </a:txDef>
  </a:objectDefaults>
  <a:extraClrSchemeLst/>
  <a:extLst>
    <a:ext uri="{05A4C25C-085E-4340-85A3-A5531E510DB2}">
      <thm15:themeFamily xmlns:thm15="http://schemas.microsoft.com/office/thememl/2012/main" name="Colt Technology Services_Master template [Images] low-res" id="{8766FADC-B46C-4016-8BCB-5FA3774F503D}" vid="{AE9563A8-E7ED-4E6A-907D-0CDF7CB4199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C3F481F96E4124E8B1F9E69E0DFC489" ma:contentTypeVersion="13" ma:contentTypeDescription="Create a new document." ma:contentTypeScope="" ma:versionID="962eb3ab2b8cc1921bf387f035ad1436">
  <xsd:schema xmlns:xsd="http://www.w3.org/2001/XMLSchema" xmlns:xs="http://www.w3.org/2001/XMLSchema" xmlns:p="http://schemas.microsoft.com/office/2006/metadata/properties" xmlns:ns3="3ef73491-7a59-47c9-90e3-475745c8ac96" xmlns:ns4="6c8425fd-d804-437c-8c89-062cf294760d" targetNamespace="http://schemas.microsoft.com/office/2006/metadata/properties" ma:root="true" ma:fieldsID="3fc65f622a3b402b8751010a0074dd85" ns3:_="" ns4:_="">
    <xsd:import namespace="3ef73491-7a59-47c9-90e3-475745c8ac96"/>
    <xsd:import namespace="6c8425fd-d804-437c-8c89-062cf294760d"/>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GenerationTime" minOccurs="0"/>
                <xsd:element ref="ns4:MediaServiceEventHashCode" minOccurs="0"/>
                <xsd:element ref="ns4:MediaServiceDateTaken" minOccurs="0"/>
                <xsd:element ref="ns4:MediaServiceOCR" minOccurs="0"/>
                <xsd:element ref="ns4:MediaServiceAutoKeyPoints" minOccurs="0"/>
                <xsd:element ref="ns4:MediaServiceKeyPoints"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ef73491-7a59-47c9-90e3-475745c8ac96"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c8425fd-d804-437c-8c89-062cf294760d"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F490CCB-FDD4-485E-996D-D7A04832FFE4}">
  <ds:schemaRefs>
    <ds:schemaRef ds:uri="http://schemas.microsoft.com/sharepoint/v3/contenttype/forms"/>
  </ds:schemaRefs>
</ds:datastoreItem>
</file>

<file path=customXml/itemProps2.xml><?xml version="1.0" encoding="utf-8"?>
<ds:datastoreItem xmlns:ds="http://schemas.openxmlformats.org/officeDocument/2006/customXml" ds:itemID="{54F3D2F7-1099-4FEA-8F8A-986381A5A0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ef73491-7a59-47c9-90e3-475745c8ac96"/>
    <ds:schemaRef ds:uri="6c8425fd-d804-437c-8c89-062cf294760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05B41FA-883F-4BDF-972C-3C441883195C}">
  <ds:schemaRefs>
    <ds:schemaRef ds:uri="http://purl.org/dc/elements/1.1/"/>
    <ds:schemaRef ds:uri="http://schemas.microsoft.com/office/2006/metadata/properties"/>
    <ds:schemaRef ds:uri="http://purl.org/dc/terms/"/>
    <ds:schemaRef ds:uri="6c8425fd-d804-437c-8c89-062cf294760d"/>
    <ds:schemaRef ds:uri="http://schemas.microsoft.com/office/2006/documentManagement/types"/>
    <ds:schemaRef ds:uri="3ef73491-7a59-47c9-90e3-475745c8ac96"/>
    <ds:schemaRef ds:uri="http://schemas.microsoft.com/office/infopath/2007/PartnerControls"/>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670</Words>
  <Application>Microsoft Office PowerPoint</Application>
  <PresentationFormat>Widescreen</PresentationFormat>
  <Paragraphs>89</Paragraphs>
  <Slides>3</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vt:i4>
      </vt:variant>
    </vt:vector>
  </HeadingPairs>
  <TitlesOfParts>
    <vt:vector size="8" baseType="lpstr">
      <vt:lpstr>Arial</vt:lpstr>
      <vt:lpstr>Calibri</vt:lpstr>
      <vt:lpstr>Wingdings</vt:lpstr>
      <vt:lpstr>Office Theme</vt:lpstr>
      <vt:lpstr>think-cell Slide</vt:lpstr>
      <vt:lpstr>Customer Success Story – European private bank</vt:lpstr>
      <vt:lpstr>Customer Success Story – European private bank</vt:lpstr>
      <vt:lpstr>Customer Success Story – European private ban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nectivity  that enables</dc:title>
  <dc:creator>Tinsley, Adrian</dc:creator>
  <cp:lastModifiedBy>Nizard, Clemence</cp:lastModifiedBy>
  <cp:revision>338</cp:revision>
  <cp:lastPrinted>2021-04-20T08:00:41Z</cp:lastPrinted>
  <dcterms:created xsi:type="dcterms:W3CDTF">2020-12-14T08:51:05Z</dcterms:created>
  <dcterms:modified xsi:type="dcterms:W3CDTF">2023-12-22T11:02: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C3F481F96E4124E8B1F9E69E0DFC489</vt:lpwstr>
  </property>
</Properties>
</file>